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19" r:id="rId4"/>
  </p:sldMasterIdLst>
  <p:notesMasterIdLst>
    <p:notesMasterId r:id="rId11"/>
  </p:notesMasterIdLst>
  <p:handoutMasterIdLst>
    <p:handoutMasterId r:id="rId12"/>
  </p:handoutMasterIdLst>
  <p:sldIdLst>
    <p:sldId id="267" r:id="rId5"/>
    <p:sldId id="274" r:id="rId6"/>
    <p:sldId id="276" r:id="rId7"/>
    <p:sldId id="277" r:id="rId8"/>
    <p:sldId id="278" r:id="rId9"/>
    <p:sldId id="279" r:id="rId10"/>
  </p:sldIdLst>
  <p:sldSz cx="10691813" cy="7559675"/>
  <p:notesSz cx="6807200" cy="9939338"/>
  <p:custDataLst>
    <p:tags r:id="rId13"/>
  </p:custDataLst>
  <p:defaultTextStyle>
    <a:defPPr>
      <a:defRPr lang="en-US"/>
    </a:defPPr>
    <a:lvl1pPr marL="0" algn="l" defTabSz="995070" rtl="0" eaLnBrk="1" latinLnBrk="0" hangingPunct="1">
      <a:defRPr sz="1979" kern="1200">
        <a:solidFill>
          <a:schemeClr val="tx1"/>
        </a:solidFill>
        <a:latin typeface="+mn-lt"/>
        <a:ea typeface="+mn-ea"/>
        <a:cs typeface="+mn-cs"/>
      </a:defRPr>
    </a:lvl1pPr>
    <a:lvl2pPr marL="497534" algn="l" defTabSz="995070" rtl="0" eaLnBrk="1" latinLnBrk="0" hangingPunct="1">
      <a:defRPr sz="1979" kern="1200">
        <a:solidFill>
          <a:schemeClr val="tx1"/>
        </a:solidFill>
        <a:latin typeface="+mn-lt"/>
        <a:ea typeface="+mn-ea"/>
        <a:cs typeface="+mn-cs"/>
      </a:defRPr>
    </a:lvl2pPr>
    <a:lvl3pPr marL="995070" algn="l" defTabSz="995070" rtl="0" eaLnBrk="1" latinLnBrk="0" hangingPunct="1">
      <a:defRPr sz="1979" kern="1200">
        <a:solidFill>
          <a:schemeClr val="tx1"/>
        </a:solidFill>
        <a:latin typeface="+mn-lt"/>
        <a:ea typeface="+mn-ea"/>
        <a:cs typeface="+mn-cs"/>
      </a:defRPr>
    </a:lvl3pPr>
    <a:lvl4pPr marL="1492602" algn="l" defTabSz="995070" rtl="0" eaLnBrk="1" latinLnBrk="0" hangingPunct="1">
      <a:defRPr sz="1979" kern="1200">
        <a:solidFill>
          <a:schemeClr val="tx1"/>
        </a:solidFill>
        <a:latin typeface="+mn-lt"/>
        <a:ea typeface="+mn-ea"/>
        <a:cs typeface="+mn-cs"/>
      </a:defRPr>
    </a:lvl4pPr>
    <a:lvl5pPr marL="1990137" algn="l" defTabSz="995070" rtl="0" eaLnBrk="1" latinLnBrk="0" hangingPunct="1">
      <a:defRPr sz="1979" kern="1200">
        <a:solidFill>
          <a:schemeClr val="tx1"/>
        </a:solidFill>
        <a:latin typeface="+mn-lt"/>
        <a:ea typeface="+mn-ea"/>
        <a:cs typeface="+mn-cs"/>
      </a:defRPr>
    </a:lvl5pPr>
    <a:lvl6pPr marL="2487670" algn="l" defTabSz="995070" rtl="0" eaLnBrk="1" latinLnBrk="0" hangingPunct="1">
      <a:defRPr sz="1979" kern="1200">
        <a:solidFill>
          <a:schemeClr val="tx1"/>
        </a:solidFill>
        <a:latin typeface="+mn-lt"/>
        <a:ea typeface="+mn-ea"/>
        <a:cs typeface="+mn-cs"/>
      </a:defRPr>
    </a:lvl6pPr>
    <a:lvl7pPr marL="2985205" algn="l" defTabSz="995070" rtl="0" eaLnBrk="1" latinLnBrk="0" hangingPunct="1">
      <a:defRPr sz="1979" kern="1200">
        <a:solidFill>
          <a:schemeClr val="tx1"/>
        </a:solidFill>
        <a:latin typeface="+mn-lt"/>
        <a:ea typeface="+mn-ea"/>
        <a:cs typeface="+mn-cs"/>
      </a:defRPr>
    </a:lvl7pPr>
    <a:lvl8pPr marL="3482739" algn="l" defTabSz="995070" rtl="0" eaLnBrk="1" latinLnBrk="0" hangingPunct="1">
      <a:defRPr sz="1979" kern="1200">
        <a:solidFill>
          <a:schemeClr val="tx1"/>
        </a:solidFill>
        <a:latin typeface="+mn-lt"/>
        <a:ea typeface="+mn-ea"/>
        <a:cs typeface="+mn-cs"/>
      </a:defRPr>
    </a:lvl8pPr>
    <a:lvl9pPr marL="3980273" algn="l" defTabSz="995070" rtl="0" eaLnBrk="1" latinLnBrk="0" hangingPunct="1">
      <a:defRPr sz="1979"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36" userDrawn="1">
          <p15:clr>
            <a:srgbClr val="A4A3A4"/>
          </p15:clr>
        </p15:guide>
        <p15:guide id="2" orient="horz" pos="782" userDrawn="1">
          <p15:clr>
            <a:srgbClr val="A4A3A4"/>
          </p15:clr>
        </p15:guide>
        <p15:guide id="3" orient="horz" pos="4377" userDrawn="1">
          <p15:clr>
            <a:srgbClr val="A4A3A4"/>
          </p15:clr>
        </p15:guide>
        <p15:guide id="4" orient="horz" pos="832" userDrawn="1">
          <p15:clr>
            <a:srgbClr val="A4A3A4"/>
          </p15:clr>
        </p15:guide>
        <p15:guide id="5" orient="horz" pos="176" userDrawn="1">
          <p15:clr>
            <a:srgbClr val="A4A3A4"/>
          </p15:clr>
        </p15:guide>
        <p15:guide id="6" orient="horz" pos="4081" userDrawn="1">
          <p15:clr>
            <a:srgbClr val="A4A3A4"/>
          </p15:clr>
        </p15:guide>
        <p15:guide id="7" orient="horz" pos="4127" userDrawn="1">
          <p15:clr>
            <a:srgbClr val="A4A3A4"/>
          </p15:clr>
        </p15:guide>
        <p15:guide id="8" pos="3368" userDrawn="1">
          <p15:clr>
            <a:srgbClr val="A4A3A4"/>
          </p15:clr>
        </p15:guide>
        <p15:guide id="9" pos="369" userDrawn="1">
          <p15:clr>
            <a:srgbClr val="A4A3A4"/>
          </p15:clr>
        </p15:guide>
        <p15:guide id="10" pos="6376" userDrawn="1">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5738F1C-A413-E01A-F0B5-F57097FC5C94}" name="Alannah Tran" initials="AT" userId="S::Alannah.Tran@nousgroup.com.au::ca071bd6-a585-4695-914d-bc8a7ace8862" providerId="AD"/>
  <p188:author id="{5F290322-8E48-3C8A-898C-14C449C4F46D}" name="Belinda Gaddes" initials="BG" userId="S::Belinda.Gaddes@nousgroup.com.au::a1ac74e1-485c-421a-a20e-905e2cf01aa9" providerId="AD"/>
  <p188:author id="{847DB82C-53F2-2B3B-995D-529A19B64E72}" name="Kasia Mierzejewska" initials="KM" userId="S::Kasia.Mierzejewska@nousgroup.com::dc82ed6e-3d25-4e80-83a1-757ba10a434b" providerId="AD"/>
  <p188:author id="{1EFE1740-6984-95DD-1762-C866A2B56557}" name="Tess Manolis" initials="TM" userId="S::tess.manolis_wyndham.vic.gov.au#ext#@nousgroup.onmicrosoft.com::539d48fb-498b-4ed1-999b-eefc201ee506" providerId="AD"/>
  <p188:author id="{4F8E8D6A-CAEC-F58F-FE2B-D9CB7F0FBBC1}" name="Joe Brailsford" initials="JB" userId="S::joe.brailsford@nousgroup.com::226030cc-e030-4d54-978d-1aab53cfa5ae" providerId="AD"/>
  <p188:author id="{E3440B89-86FD-D7C2-232B-D6AD05E6CF2E}" name="Brendan Miller" initials="BM" userId="S::brendan.miller_wyndham.vic.gov.au#ext#@nousgroup.onmicrosoft.com::a3c794f5-b810-41e5-8923-aadf5959c10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7D7D"/>
    <a:srgbClr val="37465B"/>
    <a:srgbClr val="B52025"/>
    <a:srgbClr val="F8F8F8"/>
    <a:srgbClr val="FDBE58"/>
    <a:srgbClr val="F6F6F6"/>
    <a:srgbClr val="F4F4F4"/>
    <a:srgbClr val="6E7887"/>
    <a:srgbClr val="9BA2AD"/>
    <a:srgbClr val="4657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BDACA2E-A278-445B-AEE5-99EECD9C81BC}" v="1" dt="2023-07-31T01:00:40.8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4599" autoAdjust="0"/>
    <p:restoredTop sz="96673" autoAdjust="0"/>
  </p:normalViewPr>
  <p:slideViewPr>
    <p:cSldViewPr snapToGrid="0">
      <p:cViewPr varScale="1">
        <p:scale>
          <a:sx n="109" d="100"/>
          <a:sy n="109" d="100"/>
        </p:scale>
        <p:origin x="2462" y="86"/>
      </p:cViewPr>
      <p:guideLst>
        <p:guide orient="horz" pos="2336"/>
        <p:guide orient="horz" pos="782"/>
        <p:guide orient="horz" pos="4377"/>
        <p:guide orient="horz" pos="832"/>
        <p:guide orient="horz" pos="176"/>
        <p:guide orient="horz" pos="4081"/>
        <p:guide orient="horz" pos="4127"/>
        <p:guide pos="3368"/>
        <p:guide pos="369"/>
        <p:guide pos="6376"/>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gs" Target="tags/tag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nah Tran" userId="ca071bd6-a585-4695-914d-bc8a7ace8862" providerId="ADAL" clId="{4BDACA2E-A278-445B-AEE5-99EECD9C81BC}"/>
    <pc:docChg chg="modSld">
      <pc:chgData name="Alannah Tran" userId="ca071bd6-a585-4695-914d-bc8a7ace8862" providerId="ADAL" clId="{4BDACA2E-A278-445B-AEE5-99EECD9C81BC}" dt="2023-07-31T01:00:05.106" v="0" actId="1076"/>
      <pc:docMkLst>
        <pc:docMk/>
      </pc:docMkLst>
      <pc:sldChg chg="modSp mod">
        <pc:chgData name="Alannah Tran" userId="ca071bd6-a585-4695-914d-bc8a7ace8862" providerId="ADAL" clId="{4BDACA2E-A278-445B-AEE5-99EECD9C81BC}" dt="2023-07-31T01:00:05.106" v="0" actId="1076"/>
        <pc:sldMkLst>
          <pc:docMk/>
          <pc:sldMk cId="2112696234" sldId="274"/>
        </pc:sldMkLst>
        <pc:spChg chg="mod">
          <ac:chgData name="Alannah Tran" userId="ca071bd6-a585-4695-914d-bc8a7ace8862" providerId="ADAL" clId="{4BDACA2E-A278-445B-AEE5-99EECD9C81BC}" dt="2023-07-31T01:00:05.106" v="0" actId="1076"/>
          <ac:spMkLst>
            <pc:docMk/>
            <pc:sldMk cId="2112696234" sldId="274"/>
            <ac:spMk id="4" creationId="{591FE850-559E-4EB9-6AED-EFF5B2605E5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6967"/>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sz="quarter" idx="1"/>
          </p:nvPr>
        </p:nvSpPr>
        <p:spPr>
          <a:xfrm>
            <a:off x="3855838" y="0"/>
            <a:ext cx="2949787" cy="496967"/>
          </a:xfrm>
          <a:prstGeom prst="rect">
            <a:avLst/>
          </a:prstGeom>
        </p:spPr>
        <p:txBody>
          <a:bodyPr vert="horz" lIns="91440" tIns="45720" rIns="91440" bIns="45720" rtlCol="0"/>
          <a:lstStyle>
            <a:lvl1pPr algn="r">
              <a:defRPr sz="1200"/>
            </a:lvl1pPr>
          </a:lstStyle>
          <a:p>
            <a:fld id="{49A2865F-B372-43D2-8255-7FA4007EBB59}" type="datetimeFigureOut">
              <a:rPr lang="en-AU" smtClean="0"/>
              <a:t>31/07/2023</a:t>
            </a:fld>
            <a:endParaRPr lang="en-AU"/>
          </a:p>
        </p:txBody>
      </p:sp>
      <p:sp>
        <p:nvSpPr>
          <p:cNvPr id="4" name="Footer Placeholder 3"/>
          <p:cNvSpPr>
            <a:spLocks noGrp="1"/>
          </p:cNvSpPr>
          <p:nvPr>
            <p:ph type="ftr" sz="quarter" idx="2"/>
          </p:nvPr>
        </p:nvSpPr>
        <p:spPr>
          <a:xfrm>
            <a:off x="0" y="9440646"/>
            <a:ext cx="2949787" cy="496967"/>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p:cNvSpPr>
            <a:spLocks noGrp="1"/>
          </p:cNvSpPr>
          <p:nvPr>
            <p:ph type="sldNum" sz="quarter" idx="3"/>
          </p:nvPr>
        </p:nvSpPr>
        <p:spPr>
          <a:xfrm>
            <a:off x="3855838" y="9440646"/>
            <a:ext cx="2949787" cy="496967"/>
          </a:xfrm>
          <a:prstGeom prst="rect">
            <a:avLst/>
          </a:prstGeom>
        </p:spPr>
        <p:txBody>
          <a:bodyPr vert="horz" lIns="91440" tIns="45720" rIns="91440" bIns="45720"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6967"/>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55838" y="0"/>
            <a:ext cx="2949787" cy="496967"/>
          </a:xfrm>
          <a:prstGeom prst="rect">
            <a:avLst/>
          </a:prstGeom>
        </p:spPr>
        <p:txBody>
          <a:bodyPr vert="horz" lIns="91440" tIns="45720" rIns="91440" bIns="45720" rtlCol="0"/>
          <a:lstStyle>
            <a:lvl1pPr algn="r">
              <a:defRPr sz="1200"/>
            </a:lvl1pPr>
          </a:lstStyle>
          <a:p>
            <a:fld id="{0834D938-244D-4739-949C-2C3FCC68DC46}" type="datetimeFigureOut">
              <a:rPr lang="en-AU" smtClean="0"/>
              <a:t>31/07/2023</a:t>
            </a:fld>
            <a:endParaRPr lang="en-AU"/>
          </a:p>
        </p:txBody>
      </p:sp>
      <p:sp>
        <p:nvSpPr>
          <p:cNvPr id="4" name="Slide Image Placeholder 3"/>
          <p:cNvSpPr>
            <a:spLocks noGrp="1" noRot="1" noChangeAspect="1"/>
          </p:cNvSpPr>
          <p:nvPr>
            <p:ph type="sldImg" idx="2"/>
          </p:nvPr>
        </p:nvSpPr>
        <p:spPr>
          <a:xfrm>
            <a:off x="769938" y="746125"/>
            <a:ext cx="5267325" cy="3725863"/>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0720" y="4721186"/>
            <a:ext cx="5445760" cy="4472702"/>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40646"/>
            <a:ext cx="2949787" cy="49696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55838" y="9440646"/>
            <a:ext cx="2949787" cy="496967"/>
          </a:xfrm>
          <a:prstGeom prst="rect">
            <a:avLst/>
          </a:prstGeom>
        </p:spPr>
        <p:txBody>
          <a:bodyPr vert="horz" lIns="91440" tIns="45720" rIns="91440" bIns="45720" rtlCol="0" anchor="b"/>
          <a:lstStyle>
            <a:lvl1pPr algn="r">
              <a:defRPr sz="1200"/>
            </a:lvl1pPr>
          </a:lstStyle>
          <a:p>
            <a:fld id="{4E2C0CB5-59E8-4F90-B170-7BD09AD757BA}" type="slidenum">
              <a:rPr lang="en-AU" smtClean="0"/>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notesStyle>
    <a:lvl1pPr marL="0" algn="l" defTabSz="995070" rtl="0" eaLnBrk="1" latinLnBrk="0" hangingPunct="1">
      <a:defRPr sz="1272" kern="1200">
        <a:solidFill>
          <a:schemeClr val="tx1"/>
        </a:solidFill>
        <a:latin typeface="+mn-lt"/>
        <a:ea typeface="+mn-ea"/>
        <a:cs typeface="+mn-cs"/>
      </a:defRPr>
    </a:lvl1pPr>
    <a:lvl2pPr marL="497534" algn="l" defTabSz="995070" rtl="0" eaLnBrk="1" latinLnBrk="0" hangingPunct="1">
      <a:defRPr sz="1272" kern="1200">
        <a:solidFill>
          <a:schemeClr val="tx1"/>
        </a:solidFill>
        <a:latin typeface="+mn-lt"/>
        <a:ea typeface="+mn-ea"/>
        <a:cs typeface="+mn-cs"/>
      </a:defRPr>
    </a:lvl2pPr>
    <a:lvl3pPr marL="995070" algn="l" defTabSz="995070" rtl="0" eaLnBrk="1" latinLnBrk="0" hangingPunct="1">
      <a:defRPr sz="1272" kern="1200">
        <a:solidFill>
          <a:schemeClr val="tx1"/>
        </a:solidFill>
        <a:latin typeface="+mn-lt"/>
        <a:ea typeface="+mn-ea"/>
        <a:cs typeface="+mn-cs"/>
      </a:defRPr>
    </a:lvl3pPr>
    <a:lvl4pPr marL="1492602" algn="l" defTabSz="995070" rtl="0" eaLnBrk="1" latinLnBrk="0" hangingPunct="1">
      <a:defRPr sz="1272" kern="1200">
        <a:solidFill>
          <a:schemeClr val="tx1"/>
        </a:solidFill>
        <a:latin typeface="+mn-lt"/>
        <a:ea typeface="+mn-ea"/>
        <a:cs typeface="+mn-cs"/>
      </a:defRPr>
    </a:lvl4pPr>
    <a:lvl5pPr marL="1990137" algn="l" defTabSz="995070" rtl="0" eaLnBrk="1" latinLnBrk="0" hangingPunct="1">
      <a:defRPr sz="1272" kern="1200">
        <a:solidFill>
          <a:schemeClr val="tx1"/>
        </a:solidFill>
        <a:latin typeface="+mn-lt"/>
        <a:ea typeface="+mn-ea"/>
        <a:cs typeface="+mn-cs"/>
      </a:defRPr>
    </a:lvl5pPr>
    <a:lvl6pPr marL="2487670" algn="l" defTabSz="995070" rtl="0" eaLnBrk="1" latinLnBrk="0" hangingPunct="1">
      <a:defRPr sz="1272" kern="1200">
        <a:solidFill>
          <a:schemeClr val="tx1"/>
        </a:solidFill>
        <a:latin typeface="+mn-lt"/>
        <a:ea typeface="+mn-ea"/>
        <a:cs typeface="+mn-cs"/>
      </a:defRPr>
    </a:lvl6pPr>
    <a:lvl7pPr marL="2985205" algn="l" defTabSz="995070" rtl="0" eaLnBrk="1" latinLnBrk="0" hangingPunct="1">
      <a:defRPr sz="1272" kern="1200">
        <a:solidFill>
          <a:schemeClr val="tx1"/>
        </a:solidFill>
        <a:latin typeface="+mn-lt"/>
        <a:ea typeface="+mn-ea"/>
        <a:cs typeface="+mn-cs"/>
      </a:defRPr>
    </a:lvl7pPr>
    <a:lvl8pPr marL="3482739" algn="l" defTabSz="995070" rtl="0" eaLnBrk="1" latinLnBrk="0" hangingPunct="1">
      <a:defRPr sz="1272" kern="1200">
        <a:solidFill>
          <a:schemeClr val="tx1"/>
        </a:solidFill>
        <a:latin typeface="+mn-lt"/>
        <a:ea typeface="+mn-ea"/>
        <a:cs typeface="+mn-cs"/>
      </a:defRPr>
    </a:lvl8pPr>
    <a:lvl9pPr marL="3980273" algn="l" defTabSz="995070" rtl="0" eaLnBrk="1" latinLnBrk="0" hangingPunct="1">
      <a:defRPr sz="1272"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5.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8F1505-58BD-8D89-BAFD-46D28C627B36}"/>
              </a:ext>
            </a:extLst>
          </p:cNvPr>
          <p:cNvGraphicFramePr>
            <a:graphicFrameLocks noChangeAspect="1"/>
          </p:cNvGraphicFramePr>
          <p:nvPr userDrawn="1">
            <p:custDataLst>
              <p:tags r:id="rId1"/>
            </p:custDataLst>
            <p:extLst>
              <p:ext uri="{D42A27DB-BD31-4B8C-83A1-F6EECF244321}">
                <p14:modId xmlns:p14="http://schemas.microsoft.com/office/powerpoint/2010/main" val="3916402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Object 1" hidden="1">
                        <a:extLst>
                          <a:ext uri="{FF2B5EF4-FFF2-40B4-BE49-F238E27FC236}">
                            <a16:creationId xmlns:a16="http://schemas.microsoft.com/office/drawing/2014/main" id="{068F1505-58BD-8D89-BAFD-46D28C627B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Free-form: Shape 50">
            <a:extLst>
              <a:ext uri="{FF2B5EF4-FFF2-40B4-BE49-F238E27FC236}">
                <a16:creationId xmlns:a16="http://schemas.microsoft.com/office/drawing/2014/main" id="{15537C9B-4C25-A668-540C-915BC5DCFBDF}"/>
              </a:ext>
            </a:extLst>
          </p:cNvPr>
          <p:cNvSpPr/>
          <p:nvPr userDrawn="1"/>
        </p:nvSpPr>
        <p:spPr>
          <a:xfrm>
            <a:off x="0" y="2461966"/>
            <a:ext cx="10699395" cy="4400882"/>
          </a:xfrm>
          <a:custGeom>
            <a:avLst/>
            <a:gdLst>
              <a:gd name="connsiteX0" fmla="*/ 0 w 8820023"/>
              <a:gd name="connsiteY0" fmla="*/ 0 h 3990721"/>
              <a:gd name="connsiteX1" fmla="*/ 8820023 w 8820023"/>
              <a:gd name="connsiteY1" fmla="*/ 0 h 3990721"/>
              <a:gd name="connsiteX2" fmla="*/ 8820023 w 8820023"/>
              <a:gd name="connsiteY2" fmla="*/ 3990721 h 3990721"/>
              <a:gd name="connsiteX3" fmla="*/ 0 w 8820023"/>
              <a:gd name="connsiteY3" fmla="*/ 3990721 h 3990721"/>
            </a:gdLst>
            <a:ahLst/>
            <a:cxnLst>
              <a:cxn ang="0">
                <a:pos x="connsiteX0" y="connsiteY0"/>
              </a:cxn>
              <a:cxn ang="0">
                <a:pos x="connsiteX1" y="connsiteY1"/>
              </a:cxn>
              <a:cxn ang="0">
                <a:pos x="connsiteX2" y="connsiteY2"/>
              </a:cxn>
              <a:cxn ang="0">
                <a:pos x="connsiteX3" y="connsiteY3"/>
              </a:cxn>
            </a:cxnLst>
            <a:rect l="l" t="t" r="r" b="b"/>
            <a:pathLst>
              <a:path w="8820023" h="3990721">
                <a:moveTo>
                  <a:pt x="0" y="0"/>
                </a:moveTo>
                <a:lnTo>
                  <a:pt x="8820023" y="0"/>
                </a:lnTo>
                <a:lnTo>
                  <a:pt x="8820023" y="3990721"/>
                </a:lnTo>
                <a:lnTo>
                  <a:pt x="0" y="3990721"/>
                </a:lnTo>
                <a:close/>
              </a:path>
            </a:pathLst>
          </a:custGeom>
          <a:solidFill>
            <a:srgbClr val="E0EDF8"/>
          </a:solidFill>
          <a:ln w="6350" cap="flat">
            <a:noFill/>
            <a:prstDash val="solid"/>
            <a:miter/>
          </a:ln>
        </p:spPr>
        <p:txBody>
          <a:bodyPr rtlCol="0" anchor="ctr"/>
          <a:lstStyle/>
          <a:p>
            <a:pPr lvl="0"/>
            <a:endParaRPr lang="en-AU" sz="2263">
              <a:solidFill>
                <a:schemeClr val="accent6"/>
              </a:solidFill>
            </a:endParaRP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568002" y="614693"/>
            <a:ext cx="5366953" cy="1587333"/>
          </a:xfrm>
        </p:spPr>
        <p:txBody>
          <a:bodyPr/>
          <a:lstStyle>
            <a:lvl1pPr marL="0" indent="0" algn="l">
              <a:buNone/>
              <a:defRPr sz="3417" b="0">
                <a:solidFill>
                  <a:schemeClr val="accent6"/>
                </a:solidFill>
              </a:defRPr>
            </a:lvl1pPr>
            <a:lvl2pPr marL="0" indent="0" algn="l">
              <a:buNone/>
              <a:defRPr sz="2535" b="0">
                <a:solidFill>
                  <a:schemeClr val="accent6"/>
                </a:solidFill>
              </a:defRPr>
            </a:lvl2pPr>
            <a:lvl3pPr marL="0" indent="0" algn="l">
              <a:buNone/>
              <a:defRPr sz="2535" b="0">
                <a:solidFill>
                  <a:schemeClr val="accent6"/>
                </a:solidFill>
              </a:defRPr>
            </a:lvl3pPr>
            <a:lvl4pPr marL="0" indent="0" algn="l">
              <a:buNone/>
              <a:defRPr sz="2535" b="0">
                <a:solidFill>
                  <a:schemeClr val="accent6"/>
                </a:solidFill>
              </a:defRPr>
            </a:lvl4pPr>
            <a:lvl5pPr marL="0" indent="0" algn="l">
              <a:buNone/>
              <a:defRPr sz="2535" b="0">
                <a:solidFill>
                  <a:schemeClr val="accent6"/>
                </a:solidFill>
              </a:defRPr>
            </a:lvl5pPr>
            <a:lvl6pPr marL="0" indent="0" algn="l">
              <a:buNone/>
              <a:defRPr sz="2535" b="0">
                <a:solidFill>
                  <a:schemeClr val="accent6"/>
                </a:solidFill>
              </a:defRPr>
            </a:lvl6pPr>
            <a:lvl7pPr marL="0" indent="0" algn="l">
              <a:buNone/>
              <a:defRPr sz="2535" b="0">
                <a:solidFill>
                  <a:schemeClr val="accent6"/>
                </a:solidFill>
              </a:defRPr>
            </a:lvl7pPr>
            <a:lvl8pPr marL="0" indent="0" algn="l">
              <a:buNone/>
              <a:defRPr sz="2535" b="0">
                <a:solidFill>
                  <a:schemeClr val="accent6"/>
                </a:solidFill>
              </a:defRPr>
            </a:lvl8pPr>
            <a:lvl9pPr marL="0" indent="0" algn="l">
              <a:buNone/>
              <a:defRPr sz="2535"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8" name="Footer Placeholder 7">
            <a:extLst>
              <a:ext uri="{FF2B5EF4-FFF2-40B4-BE49-F238E27FC236}">
                <a16:creationId xmlns:a16="http://schemas.microsoft.com/office/drawing/2014/main" id="{A3DD9C57-C900-FB86-2C43-875E69AA3398}"/>
              </a:ext>
            </a:extLst>
          </p:cNvPr>
          <p:cNvSpPr>
            <a:spLocks noGrp="1"/>
          </p:cNvSpPr>
          <p:nvPr>
            <p:ph type="ftr" sz="quarter" idx="11"/>
          </p:nvPr>
        </p:nvSpPr>
        <p:spPr/>
        <p:txBody>
          <a:bodyPr/>
          <a:lstStyle>
            <a:lvl1pPr>
              <a:defRPr>
                <a:solidFill>
                  <a:schemeClr val="accent6"/>
                </a:solidFill>
              </a:defRPr>
            </a:lvl1pPr>
          </a:lstStyle>
          <a:p>
            <a:r>
              <a:rPr lang="en-GB"/>
              <a:t>To add a Footer, select 'Insert &gt; Header &amp; Footer'</a:t>
            </a:r>
            <a:endParaRPr lang="en-GB" dirty="0"/>
          </a:p>
        </p:txBody>
      </p:sp>
      <p:sp>
        <p:nvSpPr>
          <p:cNvPr id="9" name="Slide Number Placeholder 8">
            <a:extLst>
              <a:ext uri="{FF2B5EF4-FFF2-40B4-BE49-F238E27FC236}">
                <a16:creationId xmlns:a16="http://schemas.microsoft.com/office/drawing/2014/main" id="{625E74D0-2044-8BDA-EA8E-0C5A69005427}"/>
              </a:ext>
            </a:extLst>
          </p:cNvPr>
          <p:cNvSpPr>
            <a:spLocks noGrp="1"/>
          </p:cNvSpPr>
          <p:nvPr>
            <p:ph type="sldNum" sz="quarter" idx="12"/>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pic>
        <p:nvPicPr>
          <p:cNvPr id="19" name="Graphic 18">
            <a:extLst>
              <a:ext uri="{FF2B5EF4-FFF2-40B4-BE49-F238E27FC236}">
                <a16:creationId xmlns:a16="http://schemas.microsoft.com/office/drawing/2014/main" id="{28DD7BC2-4298-2530-CB9E-B3B21FD37D0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8307087" y="997347"/>
            <a:ext cx="1961508" cy="567943"/>
          </a:xfrm>
          <a:prstGeom prst="rect">
            <a:avLst/>
          </a:prstGeom>
        </p:spPr>
      </p:pic>
      <p:sp>
        <p:nvSpPr>
          <p:cNvPr id="52" name="Free-form: Shape 51">
            <a:extLst>
              <a:ext uri="{FF2B5EF4-FFF2-40B4-BE49-F238E27FC236}">
                <a16:creationId xmlns:a16="http://schemas.microsoft.com/office/drawing/2014/main" id="{E6AA8BCE-511F-1556-14D4-2884B2E45DD0}"/>
              </a:ext>
            </a:extLst>
          </p:cNvPr>
          <p:cNvSpPr/>
          <p:nvPr userDrawn="1"/>
        </p:nvSpPr>
        <p:spPr>
          <a:xfrm>
            <a:off x="5418083" y="4372"/>
            <a:ext cx="3039296" cy="3659583"/>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2263">
              <a:solidFill>
                <a:schemeClr val="accent6"/>
              </a:solidFill>
            </a:endParaRPr>
          </a:p>
        </p:txBody>
      </p:sp>
      <p:sp>
        <p:nvSpPr>
          <p:cNvPr id="53" name="Free-form: Shape 52">
            <a:extLst>
              <a:ext uri="{FF2B5EF4-FFF2-40B4-BE49-F238E27FC236}">
                <a16:creationId xmlns:a16="http://schemas.microsoft.com/office/drawing/2014/main" id="{6B539416-25CC-C2D3-72E7-4C65BD51B5A1}"/>
              </a:ext>
            </a:extLst>
          </p:cNvPr>
          <p:cNvSpPr/>
          <p:nvPr userDrawn="1"/>
        </p:nvSpPr>
        <p:spPr>
          <a:xfrm>
            <a:off x="6017270" y="2466725"/>
            <a:ext cx="1201788" cy="1197229"/>
          </a:xfrm>
          <a:custGeom>
            <a:avLst/>
            <a:gdLst>
              <a:gd name="connsiteX0" fmla="*/ 510921 w 1027810"/>
              <a:gd name="connsiteY0" fmla="*/ 1086104 h 1086104"/>
              <a:gd name="connsiteX1" fmla="*/ 1027811 w 1027810"/>
              <a:gd name="connsiteY1" fmla="*/ 0 h 1086104"/>
              <a:gd name="connsiteX2" fmla="*/ 0 w 1027810"/>
              <a:gd name="connsiteY2" fmla="*/ 0 h 1086104"/>
              <a:gd name="connsiteX3" fmla="*/ 510921 w 1027810"/>
              <a:gd name="connsiteY3" fmla="*/ 1086104 h 1086104"/>
            </a:gdLst>
            <a:ahLst/>
            <a:cxnLst>
              <a:cxn ang="0">
                <a:pos x="connsiteX0" y="connsiteY0"/>
              </a:cxn>
              <a:cxn ang="0">
                <a:pos x="connsiteX1" y="connsiteY1"/>
              </a:cxn>
              <a:cxn ang="0">
                <a:pos x="connsiteX2" y="connsiteY2"/>
              </a:cxn>
              <a:cxn ang="0">
                <a:pos x="connsiteX3" y="connsiteY3"/>
              </a:cxn>
            </a:cxnLst>
            <a:rect l="l" t="t" r="r" b="b"/>
            <a:pathLst>
              <a:path w="1027810" h="1086104">
                <a:moveTo>
                  <a:pt x="510921" y="1086104"/>
                </a:moveTo>
                <a:lnTo>
                  <a:pt x="1027811" y="0"/>
                </a:lnTo>
                <a:lnTo>
                  <a:pt x="0" y="0"/>
                </a:lnTo>
                <a:cubicBezTo>
                  <a:pt x="0" y="0"/>
                  <a:pt x="510921" y="1086104"/>
                  <a:pt x="510921" y="1086104"/>
                </a:cubicBezTo>
                <a:close/>
              </a:path>
            </a:pathLst>
          </a:custGeom>
          <a:solidFill>
            <a:srgbClr val="FFFFFF">
              <a:alpha val="30000"/>
            </a:srgbClr>
          </a:solidFill>
          <a:ln w="6350" cap="flat">
            <a:noFill/>
            <a:prstDash val="solid"/>
            <a:miter/>
          </a:ln>
        </p:spPr>
        <p:txBody>
          <a:bodyPr rtlCol="0" anchor="ctr"/>
          <a:lstStyle/>
          <a:p>
            <a:pPr lvl="0"/>
            <a:endParaRPr lang="en-AU" sz="2263">
              <a:solidFill>
                <a:schemeClr val="accent6"/>
              </a:solidFill>
            </a:endParaRPr>
          </a:p>
        </p:txBody>
      </p:sp>
      <p:sp>
        <p:nvSpPr>
          <p:cNvPr id="54" name="Free-form: Shape 53">
            <a:extLst>
              <a:ext uri="{FF2B5EF4-FFF2-40B4-BE49-F238E27FC236}">
                <a16:creationId xmlns:a16="http://schemas.microsoft.com/office/drawing/2014/main" id="{AE37A05A-1CA9-47EB-3D17-768B91E48B21}"/>
              </a:ext>
            </a:extLst>
          </p:cNvPr>
          <p:cNvSpPr/>
          <p:nvPr userDrawn="1"/>
        </p:nvSpPr>
        <p:spPr>
          <a:xfrm>
            <a:off x="4820678" y="2466725"/>
            <a:ext cx="1793997" cy="1197229"/>
          </a:xfrm>
          <a:custGeom>
            <a:avLst/>
            <a:gdLst>
              <a:gd name="connsiteX0" fmla="*/ 1534287 w 1534287"/>
              <a:gd name="connsiteY0" fmla="*/ 1086104 h 1086104"/>
              <a:gd name="connsiteX1" fmla="*/ 1023366 w 1534287"/>
              <a:gd name="connsiteY1" fmla="*/ 0 h 1086104"/>
              <a:gd name="connsiteX2" fmla="*/ 0 w 1534287"/>
              <a:gd name="connsiteY2" fmla="*/ 0 h 1086104"/>
              <a:gd name="connsiteX3" fmla="*/ 510921 w 1534287"/>
              <a:gd name="connsiteY3" fmla="*/ 1086104 h 1086104"/>
              <a:gd name="connsiteX4" fmla="*/ 1534287 w 1534287"/>
              <a:gd name="connsiteY4" fmla="*/ 1086104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1534287" y="1086104"/>
                </a:moveTo>
                <a:lnTo>
                  <a:pt x="1023366" y="0"/>
                </a:lnTo>
                <a:lnTo>
                  <a:pt x="0" y="0"/>
                </a:lnTo>
                <a:cubicBezTo>
                  <a:pt x="0" y="0"/>
                  <a:pt x="510921" y="1086104"/>
                  <a:pt x="510921" y="1086104"/>
                </a:cubicBezTo>
                <a:lnTo>
                  <a:pt x="1534287" y="1086104"/>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
        <p:nvSpPr>
          <p:cNvPr id="57" name="Free-form: Shape 56">
            <a:extLst>
              <a:ext uri="{FF2B5EF4-FFF2-40B4-BE49-F238E27FC236}">
                <a16:creationId xmlns:a16="http://schemas.microsoft.com/office/drawing/2014/main" id="{6A384F39-0A4B-B0FD-E107-CEA489180716}"/>
              </a:ext>
            </a:extLst>
          </p:cNvPr>
          <p:cNvSpPr/>
          <p:nvPr userDrawn="1"/>
        </p:nvSpPr>
        <p:spPr>
          <a:xfrm>
            <a:off x="7467941" y="5342481"/>
            <a:ext cx="2285375" cy="1523273"/>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
        <p:nvSpPr>
          <p:cNvPr id="66" name="Free-form: Shape 65">
            <a:extLst>
              <a:ext uri="{FF2B5EF4-FFF2-40B4-BE49-F238E27FC236}">
                <a16:creationId xmlns:a16="http://schemas.microsoft.com/office/drawing/2014/main" id="{3A422AEC-8593-2ABB-3C00-C4F91727399C}"/>
              </a:ext>
            </a:extLst>
          </p:cNvPr>
          <p:cNvSpPr/>
          <p:nvPr userDrawn="1"/>
        </p:nvSpPr>
        <p:spPr>
          <a:xfrm>
            <a:off x="6483849" y="5338110"/>
            <a:ext cx="2510052" cy="1954176"/>
          </a:xfrm>
          <a:custGeom>
            <a:avLst/>
            <a:gdLst>
              <a:gd name="connsiteX0" fmla="*/ 841629 w 2146681"/>
              <a:gd name="connsiteY0" fmla="*/ 0 h 1772793"/>
              <a:gd name="connsiteX1" fmla="*/ 185674 w 2146681"/>
              <a:gd name="connsiteY1" fmla="*/ 1381887 h 1772793"/>
              <a:gd name="connsiteX2" fmla="*/ 185674 w 2146681"/>
              <a:gd name="connsiteY2" fmla="*/ 1381887 h 1772793"/>
              <a:gd name="connsiteX3" fmla="*/ 0 w 2146681"/>
              <a:gd name="connsiteY3" fmla="*/ 1772793 h 1772793"/>
              <a:gd name="connsiteX4" fmla="*/ 1305814 w 2146681"/>
              <a:gd name="connsiteY4" fmla="*/ 1772793 h 1772793"/>
              <a:gd name="connsiteX5" fmla="*/ 1491107 w 2146681"/>
              <a:gd name="connsiteY5" fmla="*/ 1381887 h 1772793"/>
              <a:gd name="connsiteX6" fmla="*/ 2146681 w 2146681"/>
              <a:gd name="connsiteY6" fmla="*/ 0 h 1772793"/>
              <a:gd name="connsiteX7" fmla="*/ 841629 w 2146681"/>
              <a:gd name="connsiteY7" fmla="*/ 0 h 177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681" h="1772793">
                <a:moveTo>
                  <a:pt x="841629" y="0"/>
                </a:moveTo>
                <a:lnTo>
                  <a:pt x="185674" y="1381887"/>
                </a:lnTo>
                <a:lnTo>
                  <a:pt x="185674" y="1381887"/>
                </a:lnTo>
                <a:lnTo>
                  <a:pt x="0" y="1772793"/>
                </a:lnTo>
                <a:lnTo>
                  <a:pt x="1305814" y="1772793"/>
                </a:lnTo>
                <a:lnTo>
                  <a:pt x="1491107" y="1381887"/>
                </a:lnTo>
                <a:lnTo>
                  <a:pt x="2146681" y="0"/>
                </a:lnTo>
                <a:lnTo>
                  <a:pt x="841629" y="0"/>
                </a:lnTo>
                <a:close/>
              </a:path>
            </a:pathLst>
          </a:custGeom>
          <a:solidFill>
            <a:srgbClr val="00B2A9"/>
          </a:solidFill>
          <a:ln w="12695" cap="flat">
            <a:noFill/>
            <a:prstDash val="solid"/>
            <a:miter/>
          </a:ln>
        </p:spPr>
        <p:txBody>
          <a:bodyPr rtlCol="0" anchor="ctr"/>
          <a:lstStyle/>
          <a:p>
            <a:endParaRPr lang="en-AU" sz="2263">
              <a:solidFill>
                <a:schemeClr val="accent6"/>
              </a:solidFill>
            </a:endParaRPr>
          </a:p>
        </p:txBody>
      </p:sp>
      <p:sp>
        <p:nvSpPr>
          <p:cNvPr id="67" name="Free-form: Shape 66">
            <a:extLst>
              <a:ext uri="{FF2B5EF4-FFF2-40B4-BE49-F238E27FC236}">
                <a16:creationId xmlns:a16="http://schemas.microsoft.com/office/drawing/2014/main" id="{AC33B5E6-8F3D-5E3E-7D9A-EAFBCDBAC63A}"/>
              </a:ext>
            </a:extLst>
          </p:cNvPr>
          <p:cNvSpPr/>
          <p:nvPr userDrawn="1"/>
        </p:nvSpPr>
        <p:spPr>
          <a:xfrm>
            <a:off x="6700954" y="5338110"/>
            <a:ext cx="1526405" cy="1523273"/>
          </a:xfrm>
          <a:custGeom>
            <a:avLst/>
            <a:gdLst>
              <a:gd name="connsiteX0" fmla="*/ 655955 w 1305433"/>
              <a:gd name="connsiteY0" fmla="*/ 0 h 1381886"/>
              <a:gd name="connsiteX1" fmla="*/ 0 w 1305433"/>
              <a:gd name="connsiteY1" fmla="*/ 1381887 h 1381886"/>
              <a:gd name="connsiteX2" fmla="*/ 1305433 w 1305433"/>
              <a:gd name="connsiteY2" fmla="*/ 1381887 h 1381886"/>
              <a:gd name="connsiteX3" fmla="*/ 655955 w 1305433"/>
              <a:gd name="connsiteY3" fmla="*/ 0 h 1381886"/>
            </a:gdLst>
            <a:ahLst/>
            <a:cxnLst>
              <a:cxn ang="0">
                <a:pos x="connsiteX0" y="connsiteY0"/>
              </a:cxn>
              <a:cxn ang="0">
                <a:pos x="connsiteX1" y="connsiteY1"/>
              </a:cxn>
              <a:cxn ang="0">
                <a:pos x="connsiteX2" y="connsiteY2"/>
              </a:cxn>
              <a:cxn ang="0">
                <a:pos x="connsiteX3" y="connsiteY3"/>
              </a:cxn>
            </a:cxnLst>
            <a:rect l="l" t="t" r="r" b="b"/>
            <a:pathLst>
              <a:path w="1305433" h="1381886">
                <a:moveTo>
                  <a:pt x="655955" y="0"/>
                </a:moveTo>
                <a:lnTo>
                  <a:pt x="0" y="1381887"/>
                </a:lnTo>
                <a:lnTo>
                  <a:pt x="1305433" y="1381887"/>
                </a:lnTo>
                <a:lnTo>
                  <a:pt x="655955" y="0"/>
                </a:lnTo>
                <a:close/>
              </a:path>
            </a:pathLst>
          </a:custGeom>
          <a:solidFill>
            <a:srgbClr val="FFFFFF">
              <a:alpha val="30000"/>
            </a:srgbClr>
          </a:solidFill>
          <a:ln w="6350" cap="flat">
            <a:noFill/>
            <a:prstDash val="solid"/>
            <a:miter/>
          </a:ln>
        </p:spPr>
        <p:txBody>
          <a:bodyPr rtlCol="0" anchor="ctr"/>
          <a:lstStyle/>
          <a:p>
            <a:pPr lvl="0"/>
            <a:endParaRPr lang="en-AU" sz="2263">
              <a:solidFill>
                <a:schemeClr val="accent6"/>
              </a:solidFill>
            </a:endParaRPr>
          </a:p>
        </p:txBody>
      </p:sp>
      <p:sp>
        <p:nvSpPr>
          <p:cNvPr id="69" name="Free-form: Shape 68">
            <a:extLst>
              <a:ext uri="{FF2B5EF4-FFF2-40B4-BE49-F238E27FC236}">
                <a16:creationId xmlns:a16="http://schemas.microsoft.com/office/drawing/2014/main" id="{54C5F44E-C5F1-3D65-009F-DB234152592E}"/>
              </a:ext>
            </a:extLst>
          </p:cNvPr>
          <p:cNvSpPr/>
          <p:nvPr userDrawn="1"/>
        </p:nvSpPr>
        <p:spPr>
          <a:xfrm>
            <a:off x="6350202" y="6861384"/>
            <a:ext cx="1877156" cy="698290"/>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2263">
              <a:solidFill>
                <a:schemeClr val="accent6"/>
              </a:solidFill>
            </a:endParaRPr>
          </a:p>
        </p:txBody>
      </p:sp>
      <p:cxnSp>
        <p:nvCxnSpPr>
          <p:cNvPr id="70" name="Straight Connector 69">
            <a:extLst>
              <a:ext uri="{FF2B5EF4-FFF2-40B4-BE49-F238E27FC236}">
                <a16:creationId xmlns:a16="http://schemas.microsoft.com/office/drawing/2014/main" id="{A224B4F1-853F-0203-EE31-DF5D42CD7C16}"/>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5CB1A71F-769E-D0CB-FA51-63EAE73B574F}"/>
              </a:ext>
            </a:extLst>
          </p:cNvPr>
          <p:cNvSpPr/>
          <p:nvPr userDrawn="1"/>
        </p:nvSpPr>
        <p:spPr>
          <a:xfrm>
            <a:off x="7467943" y="5338110"/>
            <a:ext cx="2285375" cy="1523273"/>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Tree>
    <p:extLst>
      <p:ext uri="{BB962C8B-B14F-4D97-AF65-F5344CB8AC3E}">
        <p14:creationId xmlns:p14="http://schemas.microsoft.com/office/powerpoint/2010/main" val="2281544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green-image">
    <p:spTree>
      <p:nvGrpSpPr>
        <p:cNvPr id="1" name=""/>
        <p:cNvGrpSpPr/>
        <p:nvPr/>
      </p:nvGrpSpPr>
      <p:grpSpPr>
        <a:xfrm>
          <a:off x="0" y="0"/>
          <a:ext cx="0" cy="0"/>
          <a:chOff x="0" y="0"/>
          <a:chExt cx="0" cy="0"/>
        </a:xfrm>
      </p:grpSpPr>
      <p:sp>
        <p:nvSpPr>
          <p:cNvPr id="39" name="Free-form: Shape 38">
            <a:extLst>
              <a:ext uri="{FF2B5EF4-FFF2-40B4-BE49-F238E27FC236}">
                <a16:creationId xmlns:a16="http://schemas.microsoft.com/office/drawing/2014/main" id="{B3F9F954-4071-0FCB-A8F6-174F333AE253}"/>
              </a:ext>
            </a:extLst>
          </p:cNvPr>
          <p:cNvSpPr/>
          <p:nvPr/>
        </p:nvSpPr>
        <p:spPr>
          <a:xfrm>
            <a:off x="0" y="693805"/>
            <a:ext cx="10688550" cy="616337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rgbClr val="00B1A8"/>
          </a:solidFill>
          <a:ln w="6350" cap="flat">
            <a:noFill/>
            <a:prstDash val="solid"/>
            <a:miter/>
          </a:ln>
        </p:spPr>
        <p:txBody>
          <a:bodyPr rtlCol="0" anchor="ctr"/>
          <a:lstStyle/>
          <a:p>
            <a:pPr lvl="0"/>
            <a:endParaRPr lang="en-AU" sz="2263"/>
          </a:p>
        </p:txBody>
      </p:sp>
      <p:sp>
        <p:nvSpPr>
          <p:cNvPr id="60" name="Picture Placeholder 59">
            <a:extLst>
              <a:ext uri="{FF2B5EF4-FFF2-40B4-BE49-F238E27FC236}">
                <a16:creationId xmlns:a16="http://schemas.microsoft.com/office/drawing/2014/main" id="{7B6F0F54-9CE1-47BC-8BB5-F63D9769A8E7}"/>
              </a:ext>
            </a:extLst>
          </p:cNvPr>
          <p:cNvSpPr>
            <a:spLocks noGrp="1" noChangeAspect="1"/>
          </p:cNvSpPr>
          <p:nvPr>
            <p:ph type="pic" sz="quarter" idx="20" hasCustomPrompt="1"/>
          </p:nvPr>
        </p:nvSpPr>
        <p:spPr>
          <a:xfrm>
            <a:off x="3941422" y="693805"/>
            <a:ext cx="6746979" cy="616407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1">
              <a:lumMod val="75000"/>
            </a:schemeClr>
          </a:solidFill>
        </p:spPr>
        <p:txBody>
          <a:bodyPr wrap="square" lIns="3600000" tIns="288000" rIns="360000" bIns="360000" anchor="t" anchorCtr="0">
            <a:noAutofit/>
          </a:bodyPr>
          <a:lstStyle>
            <a:lvl1pPr algn="r">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10" name="Subtitle 2">
            <a:extLst>
              <a:ext uri="{FF2B5EF4-FFF2-40B4-BE49-F238E27FC236}">
                <a16:creationId xmlns:a16="http://schemas.microsoft.com/office/drawing/2014/main" id="{D39926BE-0D9D-4400-A90E-88C8BB726BE5}"/>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11" name="Title 10">
            <a:extLst>
              <a:ext uri="{FF2B5EF4-FFF2-40B4-BE49-F238E27FC236}">
                <a16:creationId xmlns:a16="http://schemas.microsoft.com/office/drawing/2014/main" id="{36FDE619-A8FC-4AAE-B02B-476D7475B937}"/>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61" name="Text Placeholder 60">
            <a:extLst>
              <a:ext uri="{FF2B5EF4-FFF2-40B4-BE49-F238E27FC236}">
                <a16:creationId xmlns:a16="http://schemas.microsoft.com/office/drawing/2014/main" id="{2DD25AD8-4B3B-5469-2A0A-638B0947814E}"/>
              </a:ext>
            </a:extLst>
          </p:cNvPr>
          <p:cNvSpPr>
            <a:spLocks noGrp="1"/>
          </p:cNvSpPr>
          <p:nvPr>
            <p:ph type="body" sz="quarter" idx="15"/>
          </p:nvPr>
        </p:nvSpPr>
        <p:spPr>
          <a:xfrm>
            <a:off x="7033286" y="693804"/>
            <a:ext cx="1035472" cy="1032316"/>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2" name="Text Placeholder 61">
            <a:extLst>
              <a:ext uri="{FF2B5EF4-FFF2-40B4-BE49-F238E27FC236}">
                <a16:creationId xmlns:a16="http://schemas.microsoft.com/office/drawing/2014/main" id="{D4E0CD83-95C3-6463-68B5-540D5EFFF7BA}"/>
              </a:ext>
            </a:extLst>
          </p:cNvPr>
          <p:cNvSpPr>
            <a:spLocks noGrp="1"/>
          </p:cNvSpPr>
          <p:nvPr>
            <p:ph type="body" sz="quarter" idx="17"/>
          </p:nvPr>
        </p:nvSpPr>
        <p:spPr>
          <a:xfrm>
            <a:off x="6515327" y="693803"/>
            <a:ext cx="1035472" cy="1032316"/>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52" name="Free-form: Shape 51">
            <a:extLst>
              <a:ext uri="{FF2B5EF4-FFF2-40B4-BE49-F238E27FC236}">
                <a16:creationId xmlns:a16="http://schemas.microsoft.com/office/drawing/2014/main" id="{E1058DF6-0B4D-4561-F410-CF4A6EC5587F}"/>
              </a:ext>
            </a:extLst>
          </p:cNvPr>
          <p:cNvSpPr/>
          <p:nvPr/>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rgbClr val="53565A"/>
          </a:solidFill>
          <a:ln w="6350" cap="flat">
            <a:noFill/>
            <a:prstDash val="solid"/>
            <a:miter/>
          </a:ln>
        </p:spPr>
        <p:txBody>
          <a:bodyPr rtlCol="0" anchor="ctr"/>
          <a:lstStyle/>
          <a:p>
            <a:pPr lvl="0"/>
            <a:endParaRPr lang="en-AU" sz="2263"/>
          </a:p>
        </p:txBody>
      </p:sp>
      <p:sp>
        <p:nvSpPr>
          <p:cNvPr id="46" name="Free-form: Shape 45">
            <a:extLst>
              <a:ext uri="{FF2B5EF4-FFF2-40B4-BE49-F238E27FC236}">
                <a16:creationId xmlns:a16="http://schemas.microsoft.com/office/drawing/2014/main" id="{83821572-8A3F-6B76-EC63-FFFF39B4D8E2}"/>
              </a:ext>
            </a:extLst>
          </p:cNvPr>
          <p:cNvSpPr/>
          <p:nvPr/>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48" name="Free-form: Shape 47">
            <a:extLst>
              <a:ext uri="{FF2B5EF4-FFF2-40B4-BE49-F238E27FC236}">
                <a16:creationId xmlns:a16="http://schemas.microsoft.com/office/drawing/2014/main" id="{7147DF2A-84C9-29DC-6E61-6969EC837D59}"/>
              </a:ext>
            </a:extLst>
          </p:cNvPr>
          <p:cNvSpPr/>
          <p:nvPr/>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55" name="Free-form: Shape 54">
            <a:extLst>
              <a:ext uri="{FF2B5EF4-FFF2-40B4-BE49-F238E27FC236}">
                <a16:creationId xmlns:a16="http://schemas.microsoft.com/office/drawing/2014/main" id="{BD8D172D-4A33-0DD4-E56D-113639EAFAE9}"/>
              </a:ext>
            </a:extLst>
          </p:cNvPr>
          <p:cNvSpPr/>
          <p:nvPr/>
        </p:nvSpPr>
        <p:spPr>
          <a:xfrm>
            <a:off x="375554" y="6857741"/>
            <a:ext cx="10319530" cy="698010"/>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2263"/>
          </a:p>
        </p:txBody>
      </p:sp>
      <p:sp>
        <p:nvSpPr>
          <p:cNvPr id="56" name="Free-form: Shape 55">
            <a:extLst>
              <a:ext uri="{FF2B5EF4-FFF2-40B4-BE49-F238E27FC236}">
                <a16:creationId xmlns:a16="http://schemas.microsoft.com/office/drawing/2014/main" id="{4E22A3CD-7A86-3297-24D4-607873FB419F}"/>
              </a:ext>
            </a:extLst>
          </p:cNvPr>
          <p:cNvSpPr/>
          <p:nvPr/>
        </p:nvSpPr>
        <p:spPr>
          <a:xfrm>
            <a:off x="372287" y="-4064"/>
            <a:ext cx="10319530" cy="698010"/>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2263"/>
          </a:p>
        </p:txBody>
      </p:sp>
      <p:sp>
        <p:nvSpPr>
          <p:cNvPr id="63" name="Text Placeholder 62">
            <a:extLst>
              <a:ext uri="{FF2B5EF4-FFF2-40B4-BE49-F238E27FC236}">
                <a16:creationId xmlns:a16="http://schemas.microsoft.com/office/drawing/2014/main" id="{245E7C8D-18CE-D16D-EBFC-B55D24729C2C}"/>
              </a:ext>
            </a:extLst>
          </p:cNvPr>
          <p:cNvSpPr>
            <a:spLocks noGrp="1"/>
          </p:cNvSpPr>
          <p:nvPr>
            <p:ph type="body" sz="quarter" idx="18"/>
          </p:nvPr>
        </p:nvSpPr>
        <p:spPr>
          <a:xfrm>
            <a:off x="5997664"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5" name="Text Placeholder 64">
            <a:extLst>
              <a:ext uri="{FF2B5EF4-FFF2-40B4-BE49-F238E27FC236}">
                <a16:creationId xmlns:a16="http://schemas.microsoft.com/office/drawing/2014/main" id="{430465A8-B110-5F4A-EF48-43014E78D4DF}"/>
              </a:ext>
            </a:extLst>
          </p:cNvPr>
          <p:cNvSpPr>
            <a:spLocks noGrp="1"/>
          </p:cNvSpPr>
          <p:nvPr>
            <p:ph type="body" sz="quarter" idx="19"/>
          </p:nvPr>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accent6">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67" name="Text Placeholder 66">
            <a:extLst>
              <a:ext uri="{FF2B5EF4-FFF2-40B4-BE49-F238E27FC236}">
                <a16:creationId xmlns:a16="http://schemas.microsoft.com/office/drawing/2014/main" id="{6711808D-4AD1-4428-129E-131055EC5C88}"/>
              </a:ext>
            </a:extLst>
          </p:cNvPr>
          <p:cNvSpPr>
            <a:spLocks noGrp="1"/>
          </p:cNvSpPr>
          <p:nvPr>
            <p:ph type="body" sz="quarter" idx="16"/>
          </p:nvPr>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Footer Placeholder 3">
            <a:extLst>
              <a:ext uri="{FF2B5EF4-FFF2-40B4-BE49-F238E27FC236}">
                <a16:creationId xmlns:a16="http://schemas.microsoft.com/office/drawing/2014/main" id="{AD6E9CC3-6786-46BB-D73B-768CE7C9405B}"/>
              </a:ext>
            </a:extLst>
          </p:cNvPr>
          <p:cNvSpPr>
            <a:spLocks noGrp="1"/>
          </p:cNvSpPr>
          <p:nvPr>
            <p:ph type="ftr" sz="quarter" idx="22"/>
          </p:nvPr>
        </p:nvSpPr>
        <p:spPr/>
        <p:txBody>
          <a:bodyPr/>
          <a:lstStyle/>
          <a:p>
            <a:r>
              <a:rPr lang="en-GB"/>
              <a:t>To add a Footer, select 'Insert &gt; Header &amp; Footer'</a:t>
            </a:r>
            <a:endParaRPr lang="en-GB" dirty="0"/>
          </a:p>
        </p:txBody>
      </p:sp>
      <p:sp>
        <p:nvSpPr>
          <p:cNvPr id="6" name="Slide Number Placeholder 5">
            <a:extLst>
              <a:ext uri="{FF2B5EF4-FFF2-40B4-BE49-F238E27FC236}">
                <a16:creationId xmlns:a16="http://schemas.microsoft.com/office/drawing/2014/main" id="{832AE132-488B-C489-A635-15025EFDB9E2}"/>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7" name="Straight Connector 6">
            <a:extLst>
              <a:ext uri="{FF2B5EF4-FFF2-40B4-BE49-F238E27FC236}">
                <a16:creationId xmlns:a16="http://schemas.microsoft.com/office/drawing/2014/main" id="{70FF2009-CFB8-CF28-3413-0B4284833D97}"/>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080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image">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88179413-F21E-6F8B-5621-FD6158E128DD}"/>
              </a:ext>
            </a:extLst>
          </p:cNvPr>
          <p:cNvSpPr/>
          <p:nvPr userDrawn="1"/>
        </p:nvSpPr>
        <p:spPr>
          <a:xfrm>
            <a:off x="0" y="693805"/>
            <a:ext cx="10688550" cy="616337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accent6"/>
          </a:solidFill>
          <a:ln w="6350" cap="flat">
            <a:noFill/>
            <a:prstDash val="solid"/>
            <a:miter/>
          </a:ln>
        </p:spPr>
        <p:txBody>
          <a:bodyPr rtlCol="0" anchor="ctr"/>
          <a:lstStyle/>
          <a:p>
            <a:pPr lvl="0"/>
            <a:endParaRPr lang="en-AU" sz="2263"/>
          </a:p>
        </p:txBody>
      </p:sp>
      <p:sp>
        <p:nvSpPr>
          <p:cNvPr id="5" name="Picture Placeholder 4">
            <a:extLst>
              <a:ext uri="{FF2B5EF4-FFF2-40B4-BE49-F238E27FC236}">
                <a16:creationId xmlns:a16="http://schemas.microsoft.com/office/drawing/2014/main" id="{49494BD2-F017-377F-E9DC-49A72415A2B7}"/>
              </a:ext>
            </a:extLst>
          </p:cNvPr>
          <p:cNvSpPr>
            <a:spLocks noGrp="1" noChangeAspect="1"/>
          </p:cNvSpPr>
          <p:nvPr>
            <p:ph type="pic" sz="quarter" idx="20" hasCustomPrompt="1"/>
          </p:nvPr>
        </p:nvSpPr>
        <p:spPr>
          <a:xfrm>
            <a:off x="3941422" y="693805"/>
            <a:ext cx="6746979" cy="616407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1">
              <a:lumMod val="75000"/>
            </a:schemeClr>
          </a:solidFill>
        </p:spPr>
        <p:txBody>
          <a:bodyPr wrap="square" lIns="3600000" tIns="288000" rIns="360000" bIns="360000" anchor="t" anchorCtr="0">
            <a:noAutofit/>
          </a:bodyPr>
          <a:lstStyle>
            <a:lvl1pPr algn="r">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6" name="Text Placeholder 5">
            <a:extLst>
              <a:ext uri="{FF2B5EF4-FFF2-40B4-BE49-F238E27FC236}">
                <a16:creationId xmlns:a16="http://schemas.microsoft.com/office/drawing/2014/main" id="{1E325ACC-A39B-5A9C-08D1-4350B6146F6C}"/>
              </a:ext>
            </a:extLst>
          </p:cNvPr>
          <p:cNvSpPr>
            <a:spLocks noGrp="1"/>
          </p:cNvSpPr>
          <p:nvPr>
            <p:ph type="body" sz="quarter" idx="21"/>
          </p:nvPr>
        </p:nvSpPr>
        <p:spPr>
          <a:xfrm>
            <a:off x="7033286" y="693804"/>
            <a:ext cx="1035472" cy="1032316"/>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7" name="Text Placeholder 6">
            <a:extLst>
              <a:ext uri="{FF2B5EF4-FFF2-40B4-BE49-F238E27FC236}">
                <a16:creationId xmlns:a16="http://schemas.microsoft.com/office/drawing/2014/main" id="{33DAFE03-848B-544C-E0CD-10F5B65621C8}"/>
              </a:ext>
            </a:extLst>
          </p:cNvPr>
          <p:cNvSpPr>
            <a:spLocks noGrp="1"/>
          </p:cNvSpPr>
          <p:nvPr>
            <p:ph type="body" sz="quarter" idx="22"/>
          </p:nvPr>
        </p:nvSpPr>
        <p:spPr>
          <a:xfrm>
            <a:off x="6515327" y="693803"/>
            <a:ext cx="1035472" cy="1032316"/>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8" name="Free-form: Shape 7">
            <a:extLst>
              <a:ext uri="{FF2B5EF4-FFF2-40B4-BE49-F238E27FC236}">
                <a16:creationId xmlns:a16="http://schemas.microsoft.com/office/drawing/2014/main" id="{761D47B5-1DCF-DEA5-AD5A-A87DBB4A210B}"/>
              </a:ext>
            </a:extLst>
          </p:cNvPr>
          <p:cNvSpPr/>
          <p:nvPr userDrawn="1"/>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2263"/>
          </a:p>
        </p:txBody>
      </p:sp>
      <p:sp>
        <p:nvSpPr>
          <p:cNvPr id="9" name="Free-form: Shape 8">
            <a:extLst>
              <a:ext uri="{FF2B5EF4-FFF2-40B4-BE49-F238E27FC236}">
                <a16:creationId xmlns:a16="http://schemas.microsoft.com/office/drawing/2014/main" id="{42C733FE-249E-F4B6-97A5-9BDCDC7F587F}"/>
              </a:ext>
            </a:extLst>
          </p:cNvPr>
          <p:cNvSpPr/>
          <p:nvPr userDrawn="1"/>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14" name="Free-form: Shape 13">
            <a:extLst>
              <a:ext uri="{FF2B5EF4-FFF2-40B4-BE49-F238E27FC236}">
                <a16:creationId xmlns:a16="http://schemas.microsoft.com/office/drawing/2014/main" id="{92D11F13-254D-EE69-56CC-3A9083BCD90B}"/>
              </a:ext>
            </a:extLst>
          </p:cNvPr>
          <p:cNvSpPr/>
          <p:nvPr userDrawn="1"/>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16" name="Text Placeholder 15">
            <a:extLst>
              <a:ext uri="{FF2B5EF4-FFF2-40B4-BE49-F238E27FC236}">
                <a16:creationId xmlns:a16="http://schemas.microsoft.com/office/drawing/2014/main" id="{B23DDCEF-71FC-3732-8A04-4455123CB7A9}"/>
              </a:ext>
            </a:extLst>
          </p:cNvPr>
          <p:cNvSpPr>
            <a:spLocks noGrp="1"/>
          </p:cNvSpPr>
          <p:nvPr>
            <p:ph type="body" sz="quarter" idx="23"/>
          </p:nvPr>
        </p:nvSpPr>
        <p:spPr>
          <a:xfrm>
            <a:off x="5997664"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Text Placeholder 17">
            <a:extLst>
              <a:ext uri="{FF2B5EF4-FFF2-40B4-BE49-F238E27FC236}">
                <a16:creationId xmlns:a16="http://schemas.microsoft.com/office/drawing/2014/main" id="{65BB121C-7A8C-12E6-80A7-C9F5E0082968}"/>
              </a:ext>
            </a:extLst>
          </p:cNvPr>
          <p:cNvSpPr>
            <a:spLocks noGrp="1"/>
          </p:cNvSpPr>
          <p:nvPr>
            <p:ph type="body" sz="quarter" idx="24"/>
          </p:nvPr>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lvl1pPr>
              <a:defRPr lang="en-US" sz="441" dirty="0">
                <a:noFill/>
              </a:defRPr>
            </a:lvl1pPr>
            <a:lvl2pPr>
              <a:defRPr lang="en-US" sz="441" dirty="0">
                <a:noFill/>
              </a:defRPr>
            </a:lvl2pPr>
            <a:lvl3pPr>
              <a:defRPr lang="en-US" sz="441" dirty="0">
                <a:noFill/>
              </a:defRPr>
            </a:lvl3pPr>
            <a:lvl4pPr>
              <a:defRPr lang="en-US" sz="441" dirty="0">
                <a:noFill/>
              </a:defRPr>
            </a:lvl4pPr>
            <a:lvl5pPr>
              <a:defRPr lang="en-US" sz="441" dirty="0">
                <a:noFill/>
              </a:defRPr>
            </a:lvl5pPr>
            <a:lvl6pPr>
              <a:defRPr lang="en-US" sz="441" dirty="0">
                <a:noFill/>
              </a:defRPr>
            </a:lvl6pPr>
            <a:lvl7pPr>
              <a:defRPr lang="en-US" sz="441" dirty="0">
                <a:noFill/>
              </a:defRPr>
            </a:lvl7pPr>
            <a:lvl8pPr>
              <a:defRPr lang="en-US" sz="441" dirty="0">
                <a:noFill/>
              </a:defRPr>
            </a:lvl8pPr>
            <a:lvl9pPr>
              <a:defRPr lang="en-AU" sz="441" dirty="0">
                <a:noFill/>
              </a:defRPr>
            </a:lvl9pPr>
          </a:lstStyle>
          <a:p>
            <a:pPr lvl="0">
              <a:spcBef>
                <a:spcPts val="0"/>
              </a:spcBef>
            </a:pPr>
            <a:r>
              <a:rPr lang="en-US"/>
              <a:t>Click to edit Master text styles</a:t>
            </a:r>
          </a:p>
          <a:p>
            <a:pPr lvl="1">
              <a:spcBef>
                <a:spcPts val="0"/>
              </a:spcBef>
            </a:pPr>
            <a:r>
              <a:rPr lang="en-US"/>
              <a:t>Second level</a:t>
            </a:r>
          </a:p>
          <a:p>
            <a:pPr lvl="2">
              <a:spcBef>
                <a:spcPts val="0"/>
              </a:spcBef>
            </a:pPr>
            <a:r>
              <a:rPr lang="en-US"/>
              <a:t>Third level</a:t>
            </a:r>
          </a:p>
          <a:p>
            <a:pPr lvl="3">
              <a:spcBef>
                <a:spcPts val="0"/>
              </a:spcBef>
            </a:pPr>
            <a:r>
              <a:rPr lang="en-US"/>
              <a:t>Fourth level</a:t>
            </a:r>
          </a:p>
          <a:p>
            <a:pPr lvl="4">
              <a:spcBef>
                <a:spcPts val="0"/>
              </a:spcBef>
            </a:pPr>
            <a:r>
              <a:rPr lang="en-US"/>
              <a:t>Fifth level</a:t>
            </a:r>
            <a:endParaRPr lang="en-AU" dirty="0"/>
          </a:p>
        </p:txBody>
      </p:sp>
      <p:sp>
        <p:nvSpPr>
          <p:cNvPr id="19" name="Text Placeholder 18">
            <a:extLst>
              <a:ext uri="{FF2B5EF4-FFF2-40B4-BE49-F238E27FC236}">
                <a16:creationId xmlns:a16="http://schemas.microsoft.com/office/drawing/2014/main" id="{16DD6E17-2BA5-2E07-079F-711BDFC6475F}"/>
              </a:ext>
            </a:extLst>
          </p:cNvPr>
          <p:cNvSpPr>
            <a:spLocks noGrp="1"/>
          </p:cNvSpPr>
          <p:nvPr>
            <p:ph type="body" sz="quarter" idx="25"/>
          </p:nvPr>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568002"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2" name="Subtitle 2">
            <a:extLst>
              <a:ext uri="{FF2B5EF4-FFF2-40B4-BE49-F238E27FC236}">
                <a16:creationId xmlns:a16="http://schemas.microsoft.com/office/drawing/2014/main" id="{AD48F861-7E55-A416-6C10-E8F443B1817B}"/>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3" name="Title 10">
            <a:extLst>
              <a:ext uri="{FF2B5EF4-FFF2-40B4-BE49-F238E27FC236}">
                <a16:creationId xmlns:a16="http://schemas.microsoft.com/office/drawing/2014/main" id="{11278E5F-8266-8988-9BC9-757920918B93}"/>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12" name="Slide Number Placeholder 5">
            <a:extLst>
              <a:ext uri="{FF2B5EF4-FFF2-40B4-BE49-F238E27FC236}">
                <a16:creationId xmlns:a16="http://schemas.microsoft.com/office/drawing/2014/main" id="{053C4647-9866-8687-AC61-706DD630EC18}"/>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13" name="Straight Connector 12">
            <a:extLst>
              <a:ext uri="{FF2B5EF4-FFF2-40B4-BE49-F238E27FC236}">
                <a16:creationId xmlns:a16="http://schemas.microsoft.com/office/drawing/2014/main" id="{4CA80ADE-153B-89EB-C45C-110A3EAD8DEA}"/>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94683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ection Header full width image">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A0C810F8-DFAB-09FF-9C62-9FCB8ECA197D}"/>
              </a:ext>
            </a:extLst>
          </p:cNvPr>
          <p:cNvSpPr>
            <a:spLocks noGrp="1" noChangeAspect="1"/>
          </p:cNvSpPr>
          <p:nvPr>
            <p:ph type="pic" sz="quarter" idx="20" hasCustomPrompt="1"/>
          </p:nvPr>
        </p:nvSpPr>
        <p:spPr>
          <a:xfrm>
            <a:off x="1" y="693805"/>
            <a:ext cx="10688401" cy="6164075"/>
          </a:xfrm>
          <a:prstGeom prst="rect">
            <a:avLst/>
          </a:prstGeom>
          <a:solidFill>
            <a:schemeClr val="bg1">
              <a:lumMod val="75000"/>
            </a:schemeClr>
          </a:solidFill>
        </p:spPr>
        <p:txBody>
          <a:bodyPr wrap="square" lIns="6840000" tIns="288000" rIns="360000" bIns="360000" anchor="t" anchorCtr="0">
            <a:noAutofit/>
          </a:bodyPr>
          <a:lstStyle>
            <a:lvl1pPr algn="r">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568002"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16" name="Text Placeholder 15">
            <a:extLst>
              <a:ext uri="{FF2B5EF4-FFF2-40B4-BE49-F238E27FC236}">
                <a16:creationId xmlns:a16="http://schemas.microsoft.com/office/drawing/2014/main" id="{6230822B-F962-DB00-EE97-E4256C54DAD4}"/>
              </a:ext>
            </a:extLst>
          </p:cNvPr>
          <p:cNvSpPr>
            <a:spLocks noGrp="1"/>
          </p:cNvSpPr>
          <p:nvPr>
            <p:ph type="body" sz="quarter" idx="15"/>
          </p:nvPr>
        </p:nvSpPr>
        <p:spPr>
          <a:xfrm>
            <a:off x="7033286" y="693804"/>
            <a:ext cx="1035472" cy="1032316"/>
          </a:xfrm>
          <a:custGeom>
            <a:avLst/>
            <a:gdLst>
              <a:gd name="connsiteX0" fmla="*/ 442786 w 885571"/>
              <a:gd name="connsiteY0" fmla="*/ 936364 h 936498"/>
              <a:gd name="connsiteX1" fmla="*/ 442849 w 885571"/>
              <a:gd name="connsiteY1" fmla="*/ 936498 h 936498"/>
              <a:gd name="connsiteX2" fmla="*/ 442722 w 885571"/>
              <a:gd name="connsiteY2" fmla="*/ 936498 h 936498"/>
              <a:gd name="connsiteX3" fmla="*/ 0 w 885571"/>
              <a:gd name="connsiteY3" fmla="*/ 0 h 936498"/>
              <a:gd name="connsiteX4" fmla="*/ 885571 w 885571"/>
              <a:gd name="connsiteY4" fmla="*/ 0 h 936498"/>
              <a:gd name="connsiteX5" fmla="*/ 442786 w 885571"/>
              <a:gd name="connsiteY5" fmla="*/ 936364 h 936498"/>
              <a:gd name="connsiteX6" fmla="*/ 437876 w 885571"/>
              <a:gd name="connsiteY6" fmla="*/ 925981 h 936498"/>
              <a:gd name="connsiteX7" fmla="*/ 0 w 885571"/>
              <a:gd name="connsiteY7" fmla="*/ 0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5571" h="936498">
                <a:moveTo>
                  <a:pt x="442786" y="936364"/>
                </a:moveTo>
                <a:lnTo>
                  <a:pt x="442849" y="936498"/>
                </a:lnTo>
                <a:lnTo>
                  <a:pt x="442722" y="936498"/>
                </a:lnTo>
                <a:close/>
                <a:moveTo>
                  <a:pt x="0" y="0"/>
                </a:moveTo>
                <a:lnTo>
                  <a:pt x="885571" y="0"/>
                </a:lnTo>
                <a:lnTo>
                  <a:pt x="442786" y="936364"/>
                </a:lnTo>
                <a:lnTo>
                  <a:pt x="437876" y="925981"/>
                </a:lnTo>
                <a:cubicBezTo>
                  <a:pt x="389223" y="823094"/>
                  <a:pt x="0" y="0"/>
                  <a:pt x="0" y="0"/>
                </a:cubicBez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Text Placeholder 17">
            <a:extLst>
              <a:ext uri="{FF2B5EF4-FFF2-40B4-BE49-F238E27FC236}">
                <a16:creationId xmlns:a16="http://schemas.microsoft.com/office/drawing/2014/main" id="{682D5331-408D-EF45-7B7C-C5B7E1DA757B}"/>
              </a:ext>
            </a:extLst>
          </p:cNvPr>
          <p:cNvSpPr>
            <a:spLocks noGrp="1"/>
          </p:cNvSpPr>
          <p:nvPr>
            <p:ph type="body" sz="quarter" idx="17"/>
          </p:nvPr>
        </p:nvSpPr>
        <p:spPr>
          <a:xfrm>
            <a:off x="6515327" y="693803"/>
            <a:ext cx="1035472" cy="1032316"/>
          </a:xfrm>
          <a:custGeom>
            <a:avLst/>
            <a:gdLst>
              <a:gd name="connsiteX0" fmla="*/ 442786 w 885571"/>
              <a:gd name="connsiteY0" fmla="*/ 134 h 936498"/>
              <a:gd name="connsiteX1" fmla="*/ 447696 w 885571"/>
              <a:gd name="connsiteY1" fmla="*/ 10517 h 936498"/>
              <a:gd name="connsiteX2" fmla="*/ 885571 w 885571"/>
              <a:gd name="connsiteY2" fmla="*/ 936498 h 936498"/>
              <a:gd name="connsiteX3" fmla="*/ 0 w 885571"/>
              <a:gd name="connsiteY3" fmla="*/ 936498 h 936498"/>
              <a:gd name="connsiteX4" fmla="*/ 442722 w 885571"/>
              <a:gd name="connsiteY4" fmla="*/ 0 h 936498"/>
              <a:gd name="connsiteX5" fmla="*/ 442849 w 885571"/>
              <a:gd name="connsiteY5" fmla="*/ 0 h 936498"/>
              <a:gd name="connsiteX6" fmla="*/ 442786 w 885571"/>
              <a:gd name="connsiteY6" fmla="*/ 134 h 93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5571" h="936498">
                <a:moveTo>
                  <a:pt x="442786" y="134"/>
                </a:moveTo>
                <a:lnTo>
                  <a:pt x="447696" y="10517"/>
                </a:lnTo>
                <a:cubicBezTo>
                  <a:pt x="496349" y="113404"/>
                  <a:pt x="885571" y="936498"/>
                  <a:pt x="885571" y="936498"/>
                </a:cubicBezTo>
                <a:lnTo>
                  <a:pt x="0" y="936498"/>
                </a:lnTo>
                <a:close/>
                <a:moveTo>
                  <a:pt x="442722" y="0"/>
                </a:moveTo>
                <a:lnTo>
                  <a:pt x="442849" y="0"/>
                </a:lnTo>
                <a:lnTo>
                  <a:pt x="442786" y="134"/>
                </a:lnTo>
                <a:close/>
              </a:path>
            </a:pathLst>
          </a:custGeom>
          <a:solidFill>
            <a:schemeClr val="accent1">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9" name="Free-form: Shape 18">
            <a:extLst>
              <a:ext uri="{FF2B5EF4-FFF2-40B4-BE49-F238E27FC236}">
                <a16:creationId xmlns:a16="http://schemas.microsoft.com/office/drawing/2014/main" id="{A3A3D436-8180-38F3-59D6-0BA3DD774A4D}"/>
              </a:ext>
            </a:extLst>
          </p:cNvPr>
          <p:cNvSpPr/>
          <p:nvPr userDrawn="1"/>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2263"/>
          </a:p>
        </p:txBody>
      </p:sp>
      <p:sp>
        <p:nvSpPr>
          <p:cNvPr id="26" name="Free-form: Shape 25">
            <a:extLst>
              <a:ext uri="{FF2B5EF4-FFF2-40B4-BE49-F238E27FC236}">
                <a16:creationId xmlns:a16="http://schemas.microsoft.com/office/drawing/2014/main" id="{41BC3F22-BF2C-9936-4961-258371143F9B}"/>
              </a:ext>
            </a:extLst>
          </p:cNvPr>
          <p:cNvSpPr/>
          <p:nvPr userDrawn="1"/>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27" name="Free-form: Shape 26">
            <a:extLst>
              <a:ext uri="{FF2B5EF4-FFF2-40B4-BE49-F238E27FC236}">
                <a16:creationId xmlns:a16="http://schemas.microsoft.com/office/drawing/2014/main" id="{2315349F-5DCB-7C77-ADF4-93BBD78D466D}"/>
              </a:ext>
            </a:extLst>
          </p:cNvPr>
          <p:cNvSpPr/>
          <p:nvPr userDrawn="1"/>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28" name="Free-form: Shape 27">
            <a:extLst>
              <a:ext uri="{FF2B5EF4-FFF2-40B4-BE49-F238E27FC236}">
                <a16:creationId xmlns:a16="http://schemas.microsoft.com/office/drawing/2014/main" id="{1407844C-B43F-E7F1-25BB-730A42F8C798}"/>
              </a:ext>
            </a:extLst>
          </p:cNvPr>
          <p:cNvSpPr/>
          <p:nvPr userDrawn="1"/>
        </p:nvSpPr>
        <p:spPr>
          <a:xfrm>
            <a:off x="372287" y="-4064"/>
            <a:ext cx="10319530" cy="698010"/>
          </a:xfrm>
          <a:custGeom>
            <a:avLst/>
            <a:gdLst>
              <a:gd name="connsiteX0" fmla="*/ 0 w 8825611"/>
              <a:gd name="connsiteY0" fmla="*/ 0 h 633222"/>
              <a:gd name="connsiteX1" fmla="*/ 8825611 w 8825611"/>
              <a:gd name="connsiteY1" fmla="*/ 0 h 633222"/>
              <a:gd name="connsiteX2" fmla="*/ 8825611 w 8825611"/>
              <a:gd name="connsiteY2" fmla="*/ 633222 h 633222"/>
              <a:gd name="connsiteX3" fmla="*/ 0 w 8825611"/>
              <a:gd name="connsiteY3" fmla="*/ 633222 h 633222"/>
            </a:gdLst>
            <a:ahLst/>
            <a:cxnLst>
              <a:cxn ang="0">
                <a:pos x="connsiteX0" y="connsiteY0"/>
              </a:cxn>
              <a:cxn ang="0">
                <a:pos x="connsiteX1" y="connsiteY1"/>
              </a:cxn>
              <a:cxn ang="0">
                <a:pos x="connsiteX2" y="connsiteY2"/>
              </a:cxn>
              <a:cxn ang="0">
                <a:pos x="connsiteX3" y="connsiteY3"/>
              </a:cxn>
            </a:cxnLst>
            <a:rect l="l" t="t" r="r" b="b"/>
            <a:pathLst>
              <a:path w="8825611" h="633222">
                <a:moveTo>
                  <a:pt x="0" y="0"/>
                </a:moveTo>
                <a:lnTo>
                  <a:pt x="8825611" y="0"/>
                </a:lnTo>
                <a:lnTo>
                  <a:pt x="8825611" y="633222"/>
                </a:lnTo>
                <a:lnTo>
                  <a:pt x="0" y="633222"/>
                </a:lnTo>
                <a:close/>
              </a:path>
            </a:pathLst>
          </a:custGeom>
          <a:noFill/>
          <a:ln w="12691" cap="flat">
            <a:noFill/>
            <a:prstDash val="solid"/>
            <a:miter/>
          </a:ln>
        </p:spPr>
        <p:txBody>
          <a:bodyPr rtlCol="0" anchor="ctr"/>
          <a:lstStyle/>
          <a:p>
            <a:endParaRPr lang="en-AU" sz="2263"/>
          </a:p>
        </p:txBody>
      </p:sp>
      <p:sp>
        <p:nvSpPr>
          <p:cNvPr id="29" name="Text Placeholder 28">
            <a:extLst>
              <a:ext uri="{FF2B5EF4-FFF2-40B4-BE49-F238E27FC236}">
                <a16:creationId xmlns:a16="http://schemas.microsoft.com/office/drawing/2014/main" id="{B44498DC-53F4-4976-1118-A8506276F416}"/>
              </a:ext>
            </a:extLst>
          </p:cNvPr>
          <p:cNvSpPr>
            <a:spLocks noGrp="1"/>
          </p:cNvSpPr>
          <p:nvPr>
            <p:ph type="body" sz="quarter" idx="18"/>
          </p:nvPr>
        </p:nvSpPr>
        <p:spPr>
          <a:xfrm>
            <a:off x="5997664"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0" name="Text Placeholder 29">
            <a:extLst>
              <a:ext uri="{FF2B5EF4-FFF2-40B4-BE49-F238E27FC236}">
                <a16:creationId xmlns:a16="http://schemas.microsoft.com/office/drawing/2014/main" id="{578D3637-7058-A75F-A9AF-CA3F50EE0F9E}"/>
              </a:ext>
            </a:extLst>
          </p:cNvPr>
          <p:cNvSpPr>
            <a:spLocks noGrp="1"/>
          </p:cNvSpPr>
          <p:nvPr>
            <p:ph type="body" sz="quarter" idx="19"/>
          </p:nvPr>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lvl1pPr>
              <a:defRPr lang="en-US" sz="441" dirty="0">
                <a:noFill/>
              </a:defRPr>
            </a:lvl1pPr>
            <a:lvl2pPr>
              <a:defRPr lang="en-US" sz="441" dirty="0">
                <a:noFill/>
              </a:defRPr>
            </a:lvl2pPr>
            <a:lvl3pPr>
              <a:defRPr lang="en-US" sz="441" dirty="0">
                <a:noFill/>
              </a:defRPr>
            </a:lvl3pPr>
            <a:lvl4pPr>
              <a:defRPr lang="en-US" sz="441" dirty="0">
                <a:noFill/>
              </a:defRPr>
            </a:lvl4pPr>
            <a:lvl5pPr>
              <a:defRPr lang="en-US" sz="441" dirty="0">
                <a:noFill/>
              </a:defRPr>
            </a:lvl5pPr>
            <a:lvl6pPr>
              <a:defRPr lang="en-US" sz="441" dirty="0">
                <a:noFill/>
              </a:defRPr>
            </a:lvl6pPr>
            <a:lvl7pPr>
              <a:defRPr lang="en-US" sz="441" dirty="0">
                <a:noFill/>
              </a:defRPr>
            </a:lvl7pPr>
            <a:lvl8pPr>
              <a:defRPr lang="en-US" sz="441" dirty="0">
                <a:noFill/>
              </a:defRPr>
            </a:lvl8pPr>
            <a:lvl9pPr>
              <a:defRPr lang="en-AU" sz="441" dirty="0">
                <a:noFill/>
              </a:defRPr>
            </a:lvl9pPr>
          </a:lstStyle>
          <a:p>
            <a:pPr lvl="0">
              <a:spcBef>
                <a:spcPts val="0"/>
              </a:spcBef>
            </a:pPr>
            <a:r>
              <a:rPr lang="en-US"/>
              <a:t>Click to edit Master text styles</a:t>
            </a:r>
          </a:p>
          <a:p>
            <a:pPr lvl="1">
              <a:spcBef>
                <a:spcPts val="0"/>
              </a:spcBef>
            </a:pPr>
            <a:r>
              <a:rPr lang="en-US"/>
              <a:t>Second level</a:t>
            </a:r>
          </a:p>
          <a:p>
            <a:pPr lvl="2">
              <a:spcBef>
                <a:spcPts val="0"/>
              </a:spcBef>
            </a:pPr>
            <a:r>
              <a:rPr lang="en-US"/>
              <a:t>Third level</a:t>
            </a:r>
          </a:p>
          <a:p>
            <a:pPr lvl="3">
              <a:spcBef>
                <a:spcPts val="0"/>
              </a:spcBef>
            </a:pPr>
            <a:r>
              <a:rPr lang="en-US"/>
              <a:t>Fourth level</a:t>
            </a:r>
          </a:p>
          <a:p>
            <a:pPr lvl="4">
              <a:spcBef>
                <a:spcPts val="0"/>
              </a:spcBef>
            </a:pPr>
            <a:r>
              <a:rPr lang="en-US"/>
              <a:t>Fifth level</a:t>
            </a:r>
            <a:endParaRPr lang="en-AU" dirty="0"/>
          </a:p>
        </p:txBody>
      </p:sp>
      <p:sp>
        <p:nvSpPr>
          <p:cNvPr id="31" name="Text Placeholder 30">
            <a:extLst>
              <a:ext uri="{FF2B5EF4-FFF2-40B4-BE49-F238E27FC236}">
                <a16:creationId xmlns:a16="http://schemas.microsoft.com/office/drawing/2014/main" id="{2837DE7F-B0A0-98EB-E050-22BBFBCCB4C2}"/>
              </a:ext>
            </a:extLst>
          </p:cNvPr>
          <p:cNvSpPr>
            <a:spLocks noGrp="1"/>
          </p:cNvSpPr>
          <p:nvPr>
            <p:ph type="body" sz="quarter" idx="16"/>
          </p:nvPr>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0" name="Text Placeholder 39">
            <a:extLst>
              <a:ext uri="{FF2B5EF4-FFF2-40B4-BE49-F238E27FC236}">
                <a16:creationId xmlns:a16="http://schemas.microsoft.com/office/drawing/2014/main" id="{24349991-AE8C-CA92-BF55-D82BA54DBCB2}"/>
              </a:ext>
            </a:extLst>
          </p:cNvPr>
          <p:cNvSpPr>
            <a:spLocks noGrp="1"/>
          </p:cNvSpPr>
          <p:nvPr>
            <p:ph type="body" sz="quarter" idx="21"/>
          </p:nvPr>
        </p:nvSpPr>
        <p:spPr>
          <a:xfrm>
            <a:off x="1" y="693804"/>
            <a:ext cx="7033137" cy="6163375"/>
          </a:xfrm>
          <a:custGeom>
            <a:avLst/>
            <a:gdLst>
              <a:gd name="connsiteX0" fmla="*/ 0 w 6014977"/>
              <a:gd name="connsiteY0" fmla="*/ 0 h 5591302"/>
              <a:gd name="connsiteX1" fmla="*/ 6014977 w 6014977"/>
              <a:gd name="connsiteY1" fmla="*/ 0 h 5591302"/>
              <a:gd name="connsiteX2" fmla="*/ 3371137 w 6014977"/>
              <a:gd name="connsiteY2" fmla="*/ 5591302 h 5591302"/>
              <a:gd name="connsiteX3" fmla="*/ 0 w 6014977"/>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6014977" h="5591302">
                <a:moveTo>
                  <a:pt x="0" y="0"/>
                </a:moveTo>
                <a:lnTo>
                  <a:pt x="6014977" y="0"/>
                </a:lnTo>
                <a:lnTo>
                  <a:pt x="3371137" y="5591302"/>
                </a:lnTo>
                <a:lnTo>
                  <a:pt x="0" y="5591302"/>
                </a:lnTo>
                <a:close/>
              </a:path>
            </a:pathLst>
          </a:custGeom>
          <a:solidFill>
            <a:schemeClr val="tx2">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Title 10">
            <a:extLst>
              <a:ext uri="{FF2B5EF4-FFF2-40B4-BE49-F238E27FC236}">
                <a16:creationId xmlns:a16="http://schemas.microsoft.com/office/drawing/2014/main" id="{A6F139C8-B6EF-5B84-13D9-F8ADEBD2FCB5}"/>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7" name="Subtitle 2">
            <a:extLst>
              <a:ext uri="{FF2B5EF4-FFF2-40B4-BE49-F238E27FC236}">
                <a16:creationId xmlns:a16="http://schemas.microsoft.com/office/drawing/2014/main" id="{A3082BF0-ED0B-5BEB-3CD5-ED3CAB19DA90}"/>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4" name="Slide Number Placeholder 5">
            <a:extLst>
              <a:ext uri="{FF2B5EF4-FFF2-40B4-BE49-F238E27FC236}">
                <a16:creationId xmlns:a16="http://schemas.microsoft.com/office/drawing/2014/main" id="{AAEE8CEF-2A9A-A284-2ECE-73C5016C2E10}"/>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5" name="Straight Connector 4">
            <a:extLst>
              <a:ext uri="{FF2B5EF4-FFF2-40B4-BE49-F238E27FC236}">
                <a16:creationId xmlns:a16="http://schemas.microsoft.com/office/drawing/2014/main" id="{0A814517-E33B-AFFF-52E3-DE0C61785E9A}"/>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3368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75179C6-69B1-0B86-138C-7F7820A4F219}"/>
              </a:ext>
            </a:extLst>
          </p:cNvPr>
          <p:cNvSpPr/>
          <p:nvPr userDrawn="1"/>
        </p:nvSpPr>
        <p:spPr>
          <a:xfrm>
            <a:off x="0" y="693805"/>
            <a:ext cx="10688550" cy="616337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tx2"/>
          </a:solidFill>
          <a:ln w="6350" cap="flat">
            <a:noFill/>
            <a:prstDash val="solid"/>
            <a:miter/>
          </a:ln>
        </p:spPr>
        <p:txBody>
          <a:bodyPr rtlCol="0" anchor="ctr"/>
          <a:lstStyle/>
          <a:p>
            <a:pPr lvl="0"/>
            <a:endParaRPr lang="en-AU" sz="2263"/>
          </a:p>
        </p:txBody>
      </p:sp>
      <p:sp>
        <p:nvSpPr>
          <p:cNvPr id="44" name="Free-form: Shape 43">
            <a:extLst>
              <a:ext uri="{FF2B5EF4-FFF2-40B4-BE49-F238E27FC236}">
                <a16:creationId xmlns:a16="http://schemas.microsoft.com/office/drawing/2014/main" id="{DE084157-4075-0FD5-6E63-97A51B858EB1}"/>
              </a:ext>
            </a:extLst>
          </p:cNvPr>
          <p:cNvSpPr/>
          <p:nvPr userDrawn="1"/>
        </p:nvSpPr>
        <p:spPr>
          <a:xfrm>
            <a:off x="3941422" y="693805"/>
            <a:ext cx="6746979" cy="616407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984"/>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568002"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35" name="Free-form: Shape 34">
            <a:extLst>
              <a:ext uri="{FF2B5EF4-FFF2-40B4-BE49-F238E27FC236}">
                <a16:creationId xmlns:a16="http://schemas.microsoft.com/office/drawing/2014/main" id="{E716590E-9291-B2F9-3AA6-85CA4C91DBB9}"/>
              </a:ext>
            </a:extLst>
          </p:cNvPr>
          <p:cNvSpPr/>
          <p:nvPr userDrawn="1"/>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tx2"/>
          </a:solidFill>
          <a:ln w="6350" cap="flat">
            <a:noFill/>
            <a:prstDash val="solid"/>
            <a:miter/>
          </a:ln>
        </p:spPr>
        <p:txBody>
          <a:bodyPr rtlCol="0" anchor="ctr"/>
          <a:lstStyle/>
          <a:p>
            <a:pPr lvl="0"/>
            <a:endParaRPr lang="en-AU" sz="2263"/>
          </a:p>
        </p:txBody>
      </p:sp>
      <p:sp>
        <p:nvSpPr>
          <p:cNvPr id="36" name="Free-form: Shape 35">
            <a:extLst>
              <a:ext uri="{FF2B5EF4-FFF2-40B4-BE49-F238E27FC236}">
                <a16:creationId xmlns:a16="http://schemas.microsoft.com/office/drawing/2014/main" id="{4D003B98-C3EA-C7FE-AD96-45DA60D8E705}"/>
              </a:ext>
            </a:extLst>
          </p:cNvPr>
          <p:cNvSpPr/>
          <p:nvPr userDrawn="1"/>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37" name="Free-form: Shape 36">
            <a:extLst>
              <a:ext uri="{FF2B5EF4-FFF2-40B4-BE49-F238E27FC236}">
                <a16:creationId xmlns:a16="http://schemas.microsoft.com/office/drawing/2014/main" id="{D57C1E03-A62F-F5AC-8A66-6F45EDC22105}"/>
              </a:ext>
            </a:extLst>
          </p:cNvPr>
          <p:cNvSpPr/>
          <p:nvPr userDrawn="1"/>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41" name="Subtitle 2">
            <a:extLst>
              <a:ext uri="{FF2B5EF4-FFF2-40B4-BE49-F238E27FC236}">
                <a16:creationId xmlns:a16="http://schemas.microsoft.com/office/drawing/2014/main" id="{CAB36581-B79B-989F-D79E-A149C37E4972}"/>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42" name="Title 10">
            <a:extLst>
              <a:ext uri="{FF2B5EF4-FFF2-40B4-BE49-F238E27FC236}">
                <a16:creationId xmlns:a16="http://schemas.microsoft.com/office/drawing/2014/main" id="{2A95F71B-5627-FFA8-5C56-3B3CD5D05787}"/>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57" name="Free-form: Shape 56">
            <a:extLst>
              <a:ext uri="{FF2B5EF4-FFF2-40B4-BE49-F238E27FC236}">
                <a16:creationId xmlns:a16="http://schemas.microsoft.com/office/drawing/2014/main" id="{01DA6775-E0B6-7D84-E7B3-F5EA83C07776}"/>
              </a:ext>
            </a:extLst>
          </p:cNvPr>
          <p:cNvSpPr/>
          <p:nvPr userDrawn="1"/>
        </p:nvSpPr>
        <p:spPr>
          <a:xfrm>
            <a:off x="6515327" y="693803"/>
            <a:ext cx="1553431" cy="1032317"/>
          </a:xfrm>
          <a:custGeom>
            <a:avLst/>
            <a:gdLst>
              <a:gd name="connsiteX0" fmla="*/ 885762 w 1328547"/>
              <a:gd name="connsiteY0" fmla="*/ 936365 h 936499"/>
              <a:gd name="connsiteX1" fmla="*/ 885825 w 1328547"/>
              <a:gd name="connsiteY1" fmla="*/ 936499 h 936499"/>
              <a:gd name="connsiteX2" fmla="*/ 885698 w 1328547"/>
              <a:gd name="connsiteY2" fmla="*/ 936499 h 936499"/>
              <a:gd name="connsiteX3" fmla="*/ 442786 w 1328547"/>
              <a:gd name="connsiteY3" fmla="*/ 134 h 936499"/>
              <a:gd name="connsiteX4" fmla="*/ 447696 w 1328547"/>
              <a:gd name="connsiteY4" fmla="*/ 10517 h 936499"/>
              <a:gd name="connsiteX5" fmla="*/ 885571 w 1328547"/>
              <a:gd name="connsiteY5" fmla="*/ 936498 h 936499"/>
              <a:gd name="connsiteX6" fmla="*/ 0 w 1328547"/>
              <a:gd name="connsiteY6" fmla="*/ 936498 h 936499"/>
              <a:gd name="connsiteX7" fmla="*/ 442976 w 1328547"/>
              <a:gd name="connsiteY7" fmla="*/ 1 h 936499"/>
              <a:gd name="connsiteX8" fmla="*/ 1328547 w 1328547"/>
              <a:gd name="connsiteY8" fmla="*/ 1 h 936499"/>
              <a:gd name="connsiteX9" fmla="*/ 885762 w 1328547"/>
              <a:gd name="connsiteY9" fmla="*/ 936365 h 936499"/>
              <a:gd name="connsiteX10" fmla="*/ 880852 w 1328547"/>
              <a:gd name="connsiteY10" fmla="*/ 925982 h 936499"/>
              <a:gd name="connsiteX11" fmla="*/ 442976 w 1328547"/>
              <a:gd name="connsiteY11" fmla="*/ 1 h 936499"/>
              <a:gd name="connsiteX12" fmla="*/ 442722 w 1328547"/>
              <a:gd name="connsiteY12" fmla="*/ 0 h 936499"/>
              <a:gd name="connsiteX13" fmla="*/ 442849 w 1328547"/>
              <a:gd name="connsiteY13" fmla="*/ 0 h 936499"/>
              <a:gd name="connsiteX14" fmla="*/ 442786 w 1328547"/>
              <a:gd name="connsiteY14" fmla="*/ 134 h 93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8547" h="936499">
                <a:moveTo>
                  <a:pt x="885762" y="936365"/>
                </a:moveTo>
                <a:lnTo>
                  <a:pt x="885825" y="936499"/>
                </a:lnTo>
                <a:lnTo>
                  <a:pt x="885698" y="936499"/>
                </a:lnTo>
                <a:close/>
                <a:moveTo>
                  <a:pt x="442786" y="134"/>
                </a:moveTo>
                <a:lnTo>
                  <a:pt x="447696" y="10517"/>
                </a:lnTo>
                <a:cubicBezTo>
                  <a:pt x="496349" y="113404"/>
                  <a:pt x="885571" y="936498"/>
                  <a:pt x="885571" y="936498"/>
                </a:cubicBezTo>
                <a:lnTo>
                  <a:pt x="0" y="936498"/>
                </a:lnTo>
                <a:close/>
                <a:moveTo>
                  <a:pt x="442976" y="1"/>
                </a:moveTo>
                <a:lnTo>
                  <a:pt x="1328547" y="1"/>
                </a:lnTo>
                <a:lnTo>
                  <a:pt x="885762" y="936365"/>
                </a:lnTo>
                <a:lnTo>
                  <a:pt x="880852" y="925982"/>
                </a:lnTo>
                <a:cubicBezTo>
                  <a:pt x="832199" y="823095"/>
                  <a:pt x="442976" y="1"/>
                  <a:pt x="442976" y="1"/>
                </a:cubicBezTo>
                <a:close/>
                <a:moveTo>
                  <a:pt x="442722" y="0"/>
                </a:moveTo>
                <a:lnTo>
                  <a:pt x="442849" y="0"/>
                </a:lnTo>
                <a:lnTo>
                  <a:pt x="442786" y="134"/>
                </a:lnTo>
                <a:close/>
              </a:path>
            </a:pathLst>
          </a:custGeom>
          <a:solidFill>
            <a:schemeClr val="accent1">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58" name="Free-form: Shape 57">
            <a:extLst>
              <a:ext uri="{FF2B5EF4-FFF2-40B4-BE49-F238E27FC236}">
                <a16:creationId xmlns:a16="http://schemas.microsoft.com/office/drawing/2014/main" id="{358FAFA3-856C-CF17-8001-FFF4AC2A7BB5}"/>
              </a:ext>
            </a:extLst>
          </p:cNvPr>
          <p:cNvSpPr/>
          <p:nvPr userDrawn="1"/>
        </p:nvSpPr>
        <p:spPr>
          <a:xfrm>
            <a:off x="5997663"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61" name="Free-form: Shape 60">
            <a:extLst>
              <a:ext uri="{FF2B5EF4-FFF2-40B4-BE49-F238E27FC236}">
                <a16:creationId xmlns:a16="http://schemas.microsoft.com/office/drawing/2014/main" id="{DF617F1A-5E2A-826F-24C7-FBF92E02D629}"/>
              </a:ext>
            </a:extLst>
          </p:cNvPr>
          <p:cNvSpPr/>
          <p:nvPr userDrawn="1"/>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tx2">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62" name="Free-form: Shape 61">
            <a:extLst>
              <a:ext uri="{FF2B5EF4-FFF2-40B4-BE49-F238E27FC236}">
                <a16:creationId xmlns:a16="http://schemas.microsoft.com/office/drawing/2014/main" id="{FF92AA7A-2C80-1E59-C936-ABFC69615300}"/>
              </a:ext>
            </a:extLst>
          </p:cNvPr>
          <p:cNvSpPr/>
          <p:nvPr userDrawn="1"/>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4" name="Slide Number Placeholder 5">
            <a:extLst>
              <a:ext uri="{FF2B5EF4-FFF2-40B4-BE49-F238E27FC236}">
                <a16:creationId xmlns:a16="http://schemas.microsoft.com/office/drawing/2014/main" id="{DD344425-4162-E229-2E19-2924591FFEC4}"/>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5" name="Straight Connector 4">
            <a:extLst>
              <a:ext uri="{FF2B5EF4-FFF2-40B4-BE49-F238E27FC236}">
                <a16:creationId xmlns:a16="http://schemas.microsoft.com/office/drawing/2014/main" id="{77E5F0D0-1852-1373-EF05-D7B4A6041F22}"/>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5485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spTree>
      <p:nvGrpSpPr>
        <p:cNvPr id="1" name=""/>
        <p:cNvGrpSpPr/>
        <p:nvPr/>
      </p:nvGrpSpPr>
      <p:grpSpPr>
        <a:xfrm>
          <a:off x="0" y="0"/>
          <a:ext cx="0" cy="0"/>
          <a:chOff x="0" y="0"/>
          <a:chExt cx="0" cy="0"/>
        </a:xfrm>
      </p:grpSpPr>
      <p:sp>
        <p:nvSpPr>
          <p:cNvPr id="31" name="Free-form: Shape 30">
            <a:extLst>
              <a:ext uri="{FF2B5EF4-FFF2-40B4-BE49-F238E27FC236}">
                <a16:creationId xmlns:a16="http://schemas.microsoft.com/office/drawing/2014/main" id="{775179C6-69B1-0B86-138C-7F7820A4F219}"/>
              </a:ext>
            </a:extLst>
          </p:cNvPr>
          <p:cNvSpPr/>
          <p:nvPr userDrawn="1"/>
        </p:nvSpPr>
        <p:spPr>
          <a:xfrm>
            <a:off x="0" y="693805"/>
            <a:ext cx="10688550" cy="6163375"/>
          </a:xfrm>
          <a:custGeom>
            <a:avLst/>
            <a:gdLst>
              <a:gd name="connsiteX0" fmla="*/ 0 w 8820023"/>
              <a:gd name="connsiteY0" fmla="*/ 0 h 5591302"/>
              <a:gd name="connsiteX1" fmla="*/ 8820023 w 8820023"/>
              <a:gd name="connsiteY1" fmla="*/ 0 h 5591302"/>
              <a:gd name="connsiteX2" fmla="*/ 8820023 w 8820023"/>
              <a:gd name="connsiteY2" fmla="*/ 5591302 h 5591302"/>
              <a:gd name="connsiteX3" fmla="*/ 0 w 8820023"/>
              <a:gd name="connsiteY3" fmla="*/ 5591302 h 5591302"/>
            </a:gdLst>
            <a:ahLst/>
            <a:cxnLst>
              <a:cxn ang="0">
                <a:pos x="connsiteX0" y="connsiteY0"/>
              </a:cxn>
              <a:cxn ang="0">
                <a:pos x="connsiteX1" y="connsiteY1"/>
              </a:cxn>
              <a:cxn ang="0">
                <a:pos x="connsiteX2" y="connsiteY2"/>
              </a:cxn>
              <a:cxn ang="0">
                <a:pos x="connsiteX3" y="connsiteY3"/>
              </a:cxn>
            </a:cxnLst>
            <a:rect l="l" t="t" r="r" b="b"/>
            <a:pathLst>
              <a:path w="8820023" h="5591302">
                <a:moveTo>
                  <a:pt x="0" y="0"/>
                </a:moveTo>
                <a:lnTo>
                  <a:pt x="8820023" y="0"/>
                </a:lnTo>
                <a:lnTo>
                  <a:pt x="8820023" y="5591302"/>
                </a:lnTo>
                <a:lnTo>
                  <a:pt x="0" y="5591302"/>
                </a:lnTo>
                <a:close/>
              </a:path>
            </a:pathLst>
          </a:custGeom>
          <a:solidFill>
            <a:schemeClr val="accent6"/>
          </a:solidFill>
          <a:ln w="6350" cap="flat">
            <a:noFill/>
            <a:prstDash val="solid"/>
            <a:miter/>
          </a:ln>
        </p:spPr>
        <p:txBody>
          <a:bodyPr rtlCol="0" anchor="ctr"/>
          <a:lstStyle/>
          <a:p>
            <a:pPr lvl="0"/>
            <a:endParaRPr lang="en-AU" sz="2263"/>
          </a:p>
        </p:txBody>
      </p:sp>
      <p:sp>
        <p:nvSpPr>
          <p:cNvPr id="44" name="Free-form: Shape 43">
            <a:extLst>
              <a:ext uri="{FF2B5EF4-FFF2-40B4-BE49-F238E27FC236}">
                <a16:creationId xmlns:a16="http://schemas.microsoft.com/office/drawing/2014/main" id="{DE084157-4075-0FD5-6E63-97A51B858EB1}"/>
              </a:ext>
            </a:extLst>
          </p:cNvPr>
          <p:cNvSpPr/>
          <p:nvPr userDrawn="1"/>
        </p:nvSpPr>
        <p:spPr>
          <a:xfrm>
            <a:off x="3941422" y="693805"/>
            <a:ext cx="6746979" cy="6164075"/>
          </a:xfrm>
          <a:custGeom>
            <a:avLst/>
            <a:gdLst>
              <a:gd name="connsiteX0" fmla="*/ 2644140 w 5770245"/>
              <a:gd name="connsiteY0" fmla="*/ 0 h 5591937"/>
              <a:gd name="connsiteX1" fmla="*/ 5770245 w 5770245"/>
              <a:gd name="connsiteY1" fmla="*/ 0 h 5591937"/>
              <a:gd name="connsiteX2" fmla="*/ 5770245 w 5770245"/>
              <a:gd name="connsiteY2" fmla="*/ 5591937 h 5591937"/>
              <a:gd name="connsiteX3" fmla="*/ 0 w 5770245"/>
              <a:gd name="connsiteY3" fmla="*/ 5591937 h 5591937"/>
            </a:gdLst>
            <a:ahLst/>
            <a:cxnLst>
              <a:cxn ang="0">
                <a:pos x="connsiteX0" y="connsiteY0"/>
              </a:cxn>
              <a:cxn ang="0">
                <a:pos x="connsiteX1" y="connsiteY1"/>
              </a:cxn>
              <a:cxn ang="0">
                <a:pos x="connsiteX2" y="connsiteY2"/>
              </a:cxn>
              <a:cxn ang="0">
                <a:pos x="connsiteX3" y="connsiteY3"/>
              </a:cxn>
            </a:cxnLst>
            <a:rect l="l" t="t" r="r" b="b"/>
            <a:pathLst>
              <a:path w="5770245" h="5591937">
                <a:moveTo>
                  <a:pt x="2644140" y="0"/>
                </a:moveTo>
                <a:lnTo>
                  <a:pt x="5770245" y="0"/>
                </a:lnTo>
                <a:lnTo>
                  <a:pt x="5770245" y="5591937"/>
                </a:lnTo>
                <a:lnTo>
                  <a:pt x="0" y="5591937"/>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1984"/>
          </a:p>
        </p:txBody>
      </p:sp>
      <p:sp>
        <p:nvSpPr>
          <p:cNvPr id="22" name="Footer Placeholder 4">
            <a:extLst>
              <a:ext uri="{FF2B5EF4-FFF2-40B4-BE49-F238E27FC236}">
                <a16:creationId xmlns:a16="http://schemas.microsoft.com/office/drawing/2014/main" id="{E478B37A-93E5-3050-AED1-1AE614E5E923}"/>
              </a:ext>
            </a:extLst>
          </p:cNvPr>
          <p:cNvSpPr>
            <a:spLocks noGrp="1"/>
          </p:cNvSpPr>
          <p:nvPr>
            <p:ph type="ftr" sz="quarter" idx="3"/>
          </p:nvPr>
        </p:nvSpPr>
        <p:spPr>
          <a:xfrm>
            <a:off x="568002"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35" name="Free-form: Shape 34">
            <a:extLst>
              <a:ext uri="{FF2B5EF4-FFF2-40B4-BE49-F238E27FC236}">
                <a16:creationId xmlns:a16="http://schemas.microsoft.com/office/drawing/2014/main" id="{E716590E-9291-B2F9-3AA6-85CA4C91DBB9}"/>
              </a:ext>
            </a:extLst>
          </p:cNvPr>
          <p:cNvSpPr/>
          <p:nvPr userDrawn="1"/>
        </p:nvSpPr>
        <p:spPr>
          <a:xfrm>
            <a:off x="7547384" y="6857740"/>
            <a:ext cx="1545412" cy="697870"/>
          </a:xfrm>
          <a:custGeom>
            <a:avLst/>
            <a:gdLst>
              <a:gd name="connsiteX0" fmla="*/ 1321689 w 1321689"/>
              <a:gd name="connsiteY0" fmla="*/ 0 h 633095"/>
              <a:gd name="connsiteX1" fmla="*/ 300863 w 1321689"/>
              <a:gd name="connsiteY1" fmla="*/ 0 h 633095"/>
              <a:gd name="connsiteX2" fmla="*/ 0 w 1321689"/>
              <a:gd name="connsiteY2" fmla="*/ 633095 h 633095"/>
              <a:gd name="connsiteX3" fmla="*/ 1020953 w 1321689"/>
              <a:gd name="connsiteY3" fmla="*/ 633095 h 633095"/>
              <a:gd name="connsiteX4" fmla="*/ 1321562 w 1321689"/>
              <a:gd name="connsiteY4" fmla="*/ 0 h 6330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1689" h="633095">
                <a:moveTo>
                  <a:pt x="1321689" y="0"/>
                </a:moveTo>
                <a:lnTo>
                  <a:pt x="300863" y="0"/>
                </a:lnTo>
                <a:lnTo>
                  <a:pt x="0" y="633095"/>
                </a:lnTo>
                <a:lnTo>
                  <a:pt x="1020953" y="633095"/>
                </a:lnTo>
                <a:lnTo>
                  <a:pt x="1321562" y="0"/>
                </a:lnTo>
                <a:close/>
              </a:path>
            </a:pathLst>
          </a:custGeom>
          <a:solidFill>
            <a:schemeClr val="accent6"/>
          </a:solidFill>
          <a:ln w="6350" cap="flat">
            <a:noFill/>
            <a:prstDash val="solid"/>
            <a:miter/>
          </a:ln>
        </p:spPr>
        <p:txBody>
          <a:bodyPr rtlCol="0" anchor="ctr"/>
          <a:lstStyle/>
          <a:p>
            <a:pPr lvl="0"/>
            <a:endParaRPr lang="en-AU" sz="2263"/>
          </a:p>
        </p:txBody>
      </p:sp>
      <p:sp>
        <p:nvSpPr>
          <p:cNvPr id="36" name="Free-form: Shape 35">
            <a:extLst>
              <a:ext uri="{FF2B5EF4-FFF2-40B4-BE49-F238E27FC236}">
                <a16:creationId xmlns:a16="http://schemas.microsoft.com/office/drawing/2014/main" id="{4D003B98-C3EA-C7FE-AD96-45DA60D8E705}"/>
              </a:ext>
            </a:extLst>
          </p:cNvPr>
          <p:cNvSpPr/>
          <p:nvPr userDrawn="1"/>
        </p:nvSpPr>
        <p:spPr>
          <a:xfrm>
            <a:off x="7033137" y="-4064"/>
            <a:ext cx="1384738" cy="697869"/>
          </a:xfrm>
          <a:custGeom>
            <a:avLst/>
            <a:gdLst>
              <a:gd name="connsiteX0" fmla="*/ 299339 w 1184275"/>
              <a:gd name="connsiteY0" fmla="*/ 0 h 633094"/>
              <a:gd name="connsiteX1" fmla="*/ 0 w 1184275"/>
              <a:gd name="connsiteY1" fmla="*/ 633095 h 633094"/>
              <a:gd name="connsiteX2" fmla="*/ 885572 w 1184275"/>
              <a:gd name="connsiteY2" fmla="*/ 633095 h 633094"/>
              <a:gd name="connsiteX3" fmla="*/ 1184275 w 1184275"/>
              <a:gd name="connsiteY3" fmla="*/ 0 h 633094"/>
              <a:gd name="connsiteX4" fmla="*/ 299339 w 1184275"/>
              <a:gd name="connsiteY4" fmla="*/ 0 h 633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4275" h="633094">
                <a:moveTo>
                  <a:pt x="299339" y="0"/>
                </a:moveTo>
                <a:lnTo>
                  <a:pt x="0" y="633095"/>
                </a:lnTo>
                <a:lnTo>
                  <a:pt x="885572" y="633095"/>
                </a:lnTo>
                <a:cubicBezTo>
                  <a:pt x="885572" y="633095"/>
                  <a:pt x="1184275" y="0"/>
                  <a:pt x="1184275" y="0"/>
                </a:cubicBezTo>
                <a:lnTo>
                  <a:pt x="299339" y="0"/>
                </a:lnTo>
                <a:close/>
              </a:path>
            </a:pathLst>
          </a:custGeom>
          <a:solidFill>
            <a:srgbClr val="CEDC00"/>
          </a:solidFill>
          <a:ln w="12691" cap="flat">
            <a:noFill/>
            <a:prstDash val="solid"/>
            <a:miter/>
          </a:ln>
        </p:spPr>
        <p:txBody>
          <a:bodyPr rtlCol="0" anchor="ctr"/>
          <a:lstStyle/>
          <a:p>
            <a:endParaRPr lang="en-AU" sz="2263"/>
          </a:p>
        </p:txBody>
      </p:sp>
      <p:sp>
        <p:nvSpPr>
          <p:cNvPr id="37" name="Free-form: Shape 36">
            <a:extLst>
              <a:ext uri="{FF2B5EF4-FFF2-40B4-BE49-F238E27FC236}">
                <a16:creationId xmlns:a16="http://schemas.microsoft.com/office/drawing/2014/main" id="{D57C1E03-A62F-F5AC-8A66-6F45EDC22105}"/>
              </a:ext>
            </a:extLst>
          </p:cNvPr>
          <p:cNvSpPr/>
          <p:nvPr userDrawn="1"/>
        </p:nvSpPr>
        <p:spPr>
          <a:xfrm>
            <a:off x="7550800" y="693805"/>
            <a:ext cx="517810" cy="1032315"/>
          </a:xfrm>
          <a:custGeom>
            <a:avLst/>
            <a:gdLst>
              <a:gd name="connsiteX0" fmla="*/ 442849 w 442849"/>
              <a:gd name="connsiteY0" fmla="*/ 0 h 936497"/>
              <a:gd name="connsiteX1" fmla="*/ 0 w 442849"/>
              <a:gd name="connsiteY1" fmla="*/ 936498 h 936497"/>
            </a:gdLst>
            <a:ahLst/>
            <a:cxnLst>
              <a:cxn ang="0">
                <a:pos x="connsiteX0" y="connsiteY0"/>
              </a:cxn>
              <a:cxn ang="0">
                <a:pos x="connsiteX1" y="connsiteY1"/>
              </a:cxn>
            </a:cxnLst>
            <a:rect l="l" t="t" r="r" b="b"/>
            <a:pathLst>
              <a:path w="442849" h="936497">
                <a:moveTo>
                  <a:pt x="442849" y="0"/>
                </a:moveTo>
                <a:lnTo>
                  <a:pt x="0" y="936498"/>
                </a:lnTo>
              </a:path>
            </a:pathLst>
          </a:custGeom>
          <a:solidFill>
            <a:srgbClr val="FFFFFF"/>
          </a:solidFill>
          <a:ln w="12691" cap="flat">
            <a:noFill/>
            <a:prstDash val="solid"/>
            <a:miter/>
          </a:ln>
        </p:spPr>
        <p:txBody>
          <a:bodyPr rtlCol="0" anchor="ctr"/>
          <a:lstStyle/>
          <a:p>
            <a:endParaRPr lang="en-AU" sz="2263"/>
          </a:p>
        </p:txBody>
      </p:sp>
      <p:sp>
        <p:nvSpPr>
          <p:cNvPr id="41" name="Subtitle 2">
            <a:extLst>
              <a:ext uri="{FF2B5EF4-FFF2-40B4-BE49-F238E27FC236}">
                <a16:creationId xmlns:a16="http://schemas.microsoft.com/office/drawing/2014/main" id="{CAB36581-B79B-989F-D79E-A149C37E4972}"/>
              </a:ext>
            </a:extLst>
          </p:cNvPr>
          <p:cNvSpPr>
            <a:spLocks noGrp="1"/>
          </p:cNvSpPr>
          <p:nvPr>
            <p:ph type="subTitle" idx="1" hasCustomPrompt="1"/>
          </p:nvPr>
        </p:nvSpPr>
        <p:spPr>
          <a:xfrm>
            <a:off x="564738" y="2675708"/>
            <a:ext cx="4419844" cy="1587333"/>
          </a:xfrm>
        </p:spPr>
        <p:txBody>
          <a:bodyPr/>
          <a:lstStyle>
            <a:lvl1pPr marL="0" indent="0" algn="l">
              <a:buNone/>
              <a:defRPr sz="2535" b="0">
                <a:solidFill>
                  <a:schemeClr val="bg1"/>
                </a:solidFill>
              </a:defRPr>
            </a:lvl1pPr>
            <a:lvl2pPr marL="0" indent="0" algn="l">
              <a:buNone/>
              <a:defRPr sz="2535" b="0">
                <a:solidFill>
                  <a:schemeClr val="accent3"/>
                </a:solidFill>
              </a:defRPr>
            </a:lvl2pPr>
            <a:lvl3pPr marL="0" indent="0" algn="l">
              <a:buNone/>
              <a:defRPr sz="2535" b="0">
                <a:solidFill>
                  <a:schemeClr val="bg1"/>
                </a:solidFill>
              </a:defRPr>
            </a:lvl3pPr>
            <a:lvl4pPr marL="0" indent="0" algn="l">
              <a:buNone/>
              <a:defRPr sz="2535" b="0">
                <a:solidFill>
                  <a:schemeClr val="bg1"/>
                </a:solidFill>
              </a:defRPr>
            </a:lvl4pPr>
            <a:lvl5pPr marL="0" indent="0" algn="l">
              <a:buNone/>
              <a:defRPr sz="2535" b="0">
                <a:solidFill>
                  <a:schemeClr val="bg1"/>
                </a:solidFill>
              </a:defRPr>
            </a:lvl5pPr>
            <a:lvl6pPr marL="0" indent="0" algn="l">
              <a:buNone/>
              <a:defRPr sz="2535" b="0">
                <a:solidFill>
                  <a:schemeClr val="bg1"/>
                </a:solidFill>
              </a:defRPr>
            </a:lvl6pPr>
            <a:lvl7pPr marL="0" indent="0" algn="l">
              <a:buNone/>
              <a:defRPr sz="2535" b="0">
                <a:solidFill>
                  <a:schemeClr val="bg1"/>
                </a:solidFill>
              </a:defRPr>
            </a:lvl7pPr>
            <a:lvl8pPr marL="0" indent="0" algn="l">
              <a:buNone/>
              <a:defRPr sz="2535" b="0">
                <a:solidFill>
                  <a:schemeClr val="bg1"/>
                </a:solidFill>
              </a:defRPr>
            </a:lvl8pPr>
            <a:lvl9pPr marL="0" indent="0" algn="l">
              <a:buNone/>
              <a:defRPr sz="2535" b="0">
                <a:solidFill>
                  <a:schemeClr val="bg1"/>
                </a:solidFill>
              </a:defRPr>
            </a:lvl9pPr>
          </a:lstStyle>
          <a:p>
            <a:r>
              <a:rPr lang="en-US" dirty="0"/>
              <a:t>Click to add subheading</a:t>
            </a:r>
            <a:endParaRPr lang="en-GB" dirty="0"/>
          </a:p>
        </p:txBody>
      </p:sp>
      <p:sp>
        <p:nvSpPr>
          <p:cNvPr id="42" name="Title 10">
            <a:extLst>
              <a:ext uri="{FF2B5EF4-FFF2-40B4-BE49-F238E27FC236}">
                <a16:creationId xmlns:a16="http://schemas.microsoft.com/office/drawing/2014/main" id="{2A95F71B-5627-FFA8-5C56-3B3CD5D05787}"/>
              </a:ext>
            </a:extLst>
          </p:cNvPr>
          <p:cNvSpPr>
            <a:spLocks noGrp="1"/>
          </p:cNvSpPr>
          <p:nvPr>
            <p:ph type="title" hasCustomPrompt="1"/>
          </p:nvPr>
        </p:nvSpPr>
        <p:spPr>
          <a:xfrm>
            <a:off x="568001" y="1391815"/>
            <a:ext cx="4419844" cy="1190500"/>
          </a:xfrm>
        </p:spPr>
        <p:txBody>
          <a:bodyPr anchor="b" anchorCtr="0"/>
          <a:lstStyle>
            <a:lvl1pPr>
              <a:defRPr sz="3417">
                <a:solidFill>
                  <a:schemeClr val="bg1"/>
                </a:solidFill>
              </a:defRPr>
            </a:lvl1pPr>
          </a:lstStyle>
          <a:p>
            <a:r>
              <a:rPr lang="en-US" dirty="0"/>
              <a:t>Section Header</a:t>
            </a:r>
            <a:endParaRPr lang="en-GB" dirty="0"/>
          </a:p>
        </p:txBody>
      </p:sp>
      <p:sp>
        <p:nvSpPr>
          <p:cNvPr id="57" name="Free-form: Shape 56">
            <a:extLst>
              <a:ext uri="{FF2B5EF4-FFF2-40B4-BE49-F238E27FC236}">
                <a16:creationId xmlns:a16="http://schemas.microsoft.com/office/drawing/2014/main" id="{01DA6775-E0B6-7D84-E7B3-F5EA83C07776}"/>
              </a:ext>
            </a:extLst>
          </p:cNvPr>
          <p:cNvSpPr/>
          <p:nvPr userDrawn="1"/>
        </p:nvSpPr>
        <p:spPr>
          <a:xfrm>
            <a:off x="6515327" y="693803"/>
            <a:ext cx="1553431" cy="1032317"/>
          </a:xfrm>
          <a:custGeom>
            <a:avLst/>
            <a:gdLst>
              <a:gd name="connsiteX0" fmla="*/ 885762 w 1328547"/>
              <a:gd name="connsiteY0" fmla="*/ 936365 h 936499"/>
              <a:gd name="connsiteX1" fmla="*/ 885825 w 1328547"/>
              <a:gd name="connsiteY1" fmla="*/ 936499 h 936499"/>
              <a:gd name="connsiteX2" fmla="*/ 885698 w 1328547"/>
              <a:gd name="connsiteY2" fmla="*/ 936499 h 936499"/>
              <a:gd name="connsiteX3" fmla="*/ 442786 w 1328547"/>
              <a:gd name="connsiteY3" fmla="*/ 134 h 936499"/>
              <a:gd name="connsiteX4" fmla="*/ 447696 w 1328547"/>
              <a:gd name="connsiteY4" fmla="*/ 10517 h 936499"/>
              <a:gd name="connsiteX5" fmla="*/ 885571 w 1328547"/>
              <a:gd name="connsiteY5" fmla="*/ 936498 h 936499"/>
              <a:gd name="connsiteX6" fmla="*/ 0 w 1328547"/>
              <a:gd name="connsiteY6" fmla="*/ 936498 h 936499"/>
              <a:gd name="connsiteX7" fmla="*/ 442976 w 1328547"/>
              <a:gd name="connsiteY7" fmla="*/ 1 h 936499"/>
              <a:gd name="connsiteX8" fmla="*/ 1328547 w 1328547"/>
              <a:gd name="connsiteY8" fmla="*/ 1 h 936499"/>
              <a:gd name="connsiteX9" fmla="*/ 885762 w 1328547"/>
              <a:gd name="connsiteY9" fmla="*/ 936365 h 936499"/>
              <a:gd name="connsiteX10" fmla="*/ 880852 w 1328547"/>
              <a:gd name="connsiteY10" fmla="*/ 925982 h 936499"/>
              <a:gd name="connsiteX11" fmla="*/ 442976 w 1328547"/>
              <a:gd name="connsiteY11" fmla="*/ 1 h 936499"/>
              <a:gd name="connsiteX12" fmla="*/ 442722 w 1328547"/>
              <a:gd name="connsiteY12" fmla="*/ 0 h 936499"/>
              <a:gd name="connsiteX13" fmla="*/ 442849 w 1328547"/>
              <a:gd name="connsiteY13" fmla="*/ 0 h 936499"/>
              <a:gd name="connsiteX14" fmla="*/ 442786 w 1328547"/>
              <a:gd name="connsiteY14" fmla="*/ 134 h 936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8547" h="936499">
                <a:moveTo>
                  <a:pt x="885762" y="936365"/>
                </a:moveTo>
                <a:lnTo>
                  <a:pt x="885825" y="936499"/>
                </a:lnTo>
                <a:lnTo>
                  <a:pt x="885698" y="936499"/>
                </a:lnTo>
                <a:close/>
                <a:moveTo>
                  <a:pt x="442786" y="134"/>
                </a:moveTo>
                <a:lnTo>
                  <a:pt x="447696" y="10517"/>
                </a:lnTo>
                <a:cubicBezTo>
                  <a:pt x="496349" y="113404"/>
                  <a:pt x="885571" y="936498"/>
                  <a:pt x="885571" y="936498"/>
                </a:cubicBezTo>
                <a:lnTo>
                  <a:pt x="0" y="936498"/>
                </a:lnTo>
                <a:close/>
                <a:moveTo>
                  <a:pt x="442976" y="1"/>
                </a:moveTo>
                <a:lnTo>
                  <a:pt x="1328547" y="1"/>
                </a:lnTo>
                <a:lnTo>
                  <a:pt x="885762" y="936365"/>
                </a:lnTo>
                <a:lnTo>
                  <a:pt x="880852" y="925982"/>
                </a:lnTo>
                <a:cubicBezTo>
                  <a:pt x="832199" y="823095"/>
                  <a:pt x="442976" y="1"/>
                  <a:pt x="442976" y="1"/>
                </a:cubicBezTo>
                <a:close/>
                <a:moveTo>
                  <a:pt x="442722" y="0"/>
                </a:moveTo>
                <a:lnTo>
                  <a:pt x="442849" y="0"/>
                </a:lnTo>
                <a:lnTo>
                  <a:pt x="442786" y="134"/>
                </a:lnTo>
                <a:close/>
              </a:path>
            </a:pathLst>
          </a:custGeom>
          <a:solidFill>
            <a:schemeClr val="accent1">
              <a:alpha val="66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58" name="Free-form: Shape 57">
            <a:extLst>
              <a:ext uri="{FF2B5EF4-FFF2-40B4-BE49-F238E27FC236}">
                <a16:creationId xmlns:a16="http://schemas.microsoft.com/office/drawing/2014/main" id="{358FAFA3-856C-CF17-8001-FFF4AC2A7BB5}"/>
              </a:ext>
            </a:extLst>
          </p:cNvPr>
          <p:cNvSpPr/>
          <p:nvPr userDrawn="1"/>
        </p:nvSpPr>
        <p:spPr>
          <a:xfrm>
            <a:off x="5997663" y="693803"/>
            <a:ext cx="1553283" cy="1032316"/>
          </a:xfrm>
          <a:custGeom>
            <a:avLst/>
            <a:gdLst>
              <a:gd name="connsiteX0" fmla="*/ 0 w 1328420"/>
              <a:gd name="connsiteY0" fmla="*/ 0 h 936498"/>
              <a:gd name="connsiteX1" fmla="*/ 885571 w 1328420"/>
              <a:gd name="connsiteY1" fmla="*/ 0 h 936498"/>
              <a:gd name="connsiteX2" fmla="*/ 1328420 w 1328420"/>
              <a:gd name="connsiteY2" fmla="*/ 936498 h 936498"/>
              <a:gd name="connsiteX3" fmla="*/ 442849 w 1328420"/>
              <a:gd name="connsiteY3" fmla="*/ 936498 h 936498"/>
              <a:gd name="connsiteX4" fmla="*/ 0 w 1328420"/>
              <a:gd name="connsiteY4" fmla="*/ 0 h 9364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8420" h="936498">
                <a:moveTo>
                  <a:pt x="0" y="0"/>
                </a:moveTo>
                <a:lnTo>
                  <a:pt x="885571" y="0"/>
                </a:lnTo>
                <a:lnTo>
                  <a:pt x="1328420" y="936498"/>
                </a:lnTo>
                <a:lnTo>
                  <a:pt x="442849" y="936498"/>
                </a:lnTo>
                <a:cubicBezTo>
                  <a:pt x="442849" y="936498"/>
                  <a:pt x="0" y="0"/>
                  <a:pt x="0" y="0"/>
                </a:cubicBez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61" name="Free-form: Shape 60">
            <a:extLst>
              <a:ext uri="{FF2B5EF4-FFF2-40B4-BE49-F238E27FC236}">
                <a16:creationId xmlns:a16="http://schemas.microsoft.com/office/drawing/2014/main" id="{DF617F1A-5E2A-826F-24C7-FBF92E02D629}"/>
              </a:ext>
            </a:extLst>
          </p:cNvPr>
          <p:cNvSpPr/>
          <p:nvPr userDrawn="1"/>
        </p:nvSpPr>
        <p:spPr>
          <a:xfrm>
            <a:off x="7897835" y="5666672"/>
            <a:ext cx="1794443" cy="1193869"/>
          </a:xfrm>
          <a:custGeom>
            <a:avLst/>
            <a:gdLst>
              <a:gd name="connsiteX0" fmla="*/ 513969 w 1534668"/>
              <a:gd name="connsiteY0" fmla="*/ 0 h 1083056"/>
              <a:gd name="connsiteX1" fmla="*/ 1534668 w 1534668"/>
              <a:gd name="connsiteY1" fmla="*/ 0 h 1083056"/>
              <a:gd name="connsiteX2" fmla="*/ 1021969 w 1534668"/>
              <a:gd name="connsiteY2" fmla="*/ 1080516 h 1083056"/>
              <a:gd name="connsiteX3" fmla="*/ 0 w 1534668"/>
              <a:gd name="connsiteY3" fmla="*/ 1083056 h 1083056"/>
            </a:gdLst>
            <a:ahLst/>
            <a:cxnLst>
              <a:cxn ang="0">
                <a:pos x="connsiteX0" y="connsiteY0"/>
              </a:cxn>
              <a:cxn ang="0">
                <a:pos x="connsiteX1" y="connsiteY1"/>
              </a:cxn>
              <a:cxn ang="0">
                <a:pos x="connsiteX2" y="connsiteY2"/>
              </a:cxn>
              <a:cxn ang="0">
                <a:pos x="connsiteX3" y="connsiteY3"/>
              </a:cxn>
            </a:cxnLst>
            <a:rect l="l" t="t" r="r" b="b"/>
            <a:pathLst>
              <a:path w="1534668" h="1083056">
                <a:moveTo>
                  <a:pt x="513969" y="0"/>
                </a:moveTo>
                <a:lnTo>
                  <a:pt x="1534668" y="0"/>
                </a:lnTo>
                <a:lnTo>
                  <a:pt x="1021969" y="1080516"/>
                </a:lnTo>
                <a:lnTo>
                  <a:pt x="0" y="1083056"/>
                </a:lnTo>
                <a:close/>
              </a:path>
            </a:pathLst>
          </a:custGeom>
          <a:solidFill>
            <a:schemeClr val="accent6">
              <a:alpha val="50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62" name="Free-form: Shape 61">
            <a:extLst>
              <a:ext uri="{FF2B5EF4-FFF2-40B4-BE49-F238E27FC236}">
                <a16:creationId xmlns:a16="http://schemas.microsoft.com/office/drawing/2014/main" id="{FF92AA7A-2C80-1E59-C936-ABFC69615300}"/>
              </a:ext>
            </a:extLst>
          </p:cNvPr>
          <p:cNvSpPr/>
          <p:nvPr userDrawn="1"/>
        </p:nvSpPr>
        <p:spPr>
          <a:xfrm>
            <a:off x="8498807" y="5666672"/>
            <a:ext cx="1787315" cy="1191209"/>
          </a:xfrm>
          <a:custGeom>
            <a:avLst/>
            <a:gdLst>
              <a:gd name="connsiteX0" fmla="*/ 0 w 1528572"/>
              <a:gd name="connsiteY0" fmla="*/ 0 h 1080643"/>
              <a:gd name="connsiteX1" fmla="*/ 1020572 w 1528572"/>
              <a:gd name="connsiteY1" fmla="*/ 0 h 1080643"/>
              <a:gd name="connsiteX2" fmla="*/ 1528572 w 1528572"/>
              <a:gd name="connsiteY2" fmla="*/ 1080643 h 1080643"/>
              <a:gd name="connsiteX3" fmla="*/ 508000 w 1528572"/>
              <a:gd name="connsiteY3" fmla="*/ 1080643 h 1080643"/>
            </a:gdLst>
            <a:ahLst/>
            <a:cxnLst>
              <a:cxn ang="0">
                <a:pos x="connsiteX0" y="connsiteY0"/>
              </a:cxn>
              <a:cxn ang="0">
                <a:pos x="connsiteX1" y="connsiteY1"/>
              </a:cxn>
              <a:cxn ang="0">
                <a:pos x="connsiteX2" y="connsiteY2"/>
              </a:cxn>
              <a:cxn ang="0">
                <a:pos x="connsiteX3" y="connsiteY3"/>
              </a:cxn>
            </a:cxnLst>
            <a:rect l="l" t="t" r="r" b="b"/>
            <a:pathLst>
              <a:path w="1528572" h="1080643">
                <a:moveTo>
                  <a:pt x="0" y="0"/>
                </a:moveTo>
                <a:lnTo>
                  <a:pt x="1020572" y="0"/>
                </a:lnTo>
                <a:cubicBezTo>
                  <a:pt x="1020572" y="0"/>
                  <a:pt x="1528572" y="1080643"/>
                  <a:pt x="1528572" y="1080643"/>
                </a:cubicBezTo>
                <a:lnTo>
                  <a:pt x="508000" y="1080643"/>
                </a:lnTo>
                <a:close/>
              </a:path>
            </a:pathLst>
          </a:custGeom>
          <a:solidFill>
            <a:schemeClr val="bg1">
              <a:alpha val="33000"/>
            </a:schemeClr>
          </a:solidFill>
        </p:spPr>
        <p:txBody>
          <a:bodyPr vert="horz" wrap="square" lIns="0" tIns="0" rIns="0" bIns="0" rtlCol="0">
            <a:noAutofit/>
          </a:bodyPr>
          <a:lstStyle/>
          <a:p>
            <a:pPr lvl="0" indent="0">
              <a:lnSpc>
                <a:spcPct val="100000"/>
              </a:lnSpc>
              <a:spcBef>
                <a:spcPts val="0"/>
              </a:spcBef>
              <a:buFont typeface="Arial" panose="020B0604020202020204" pitchFamily="34" charset="0"/>
              <a:buNone/>
            </a:pPr>
            <a:endParaRPr lang="en-AU" sz="441" b="1">
              <a:noFill/>
            </a:endParaRPr>
          </a:p>
        </p:txBody>
      </p:sp>
      <p:sp>
        <p:nvSpPr>
          <p:cNvPr id="4" name="Slide Number Placeholder 5">
            <a:extLst>
              <a:ext uri="{FF2B5EF4-FFF2-40B4-BE49-F238E27FC236}">
                <a16:creationId xmlns:a16="http://schemas.microsoft.com/office/drawing/2014/main" id="{5B3127AF-A3C2-5832-887E-D39B11574766}"/>
              </a:ext>
            </a:extLst>
          </p:cNvPr>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dirty="0"/>
              <a:t>Page </a:t>
            </a:r>
            <a:fld id="{F5AEA0E0-5CC6-4BD0-905C-A0021E419432}" type="slidenum">
              <a:rPr lang="en-GB" smtClean="0"/>
              <a:pPr/>
              <a:t>‹#›</a:t>
            </a:fld>
            <a:endParaRPr lang="en-GB" dirty="0"/>
          </a:p>
        </p:txBody>
      </p:sp>
      <p:cxnSp>
        <p:nvCxnSpPr>
          <p:cNvPr id="5" name="Straight Connector 4">
            <a:extLst>
              <a:ext uri="{FF2B5EF4-FFF2-40B4-BE49-F238E27FC236}">
                <a16:creationId xmlns:a16="http://schemas.microsoft.com/office/drawing/2014/main" id="{FCFDF05C-52EC-6D95-72CD-C8B91309F21D}"/>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4561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DEF600E-A836-4665-A50B-E5BE4AD5429E}"/>
              </a:ext>
            </a:extLst>
          </p:cNvPr>
          <p:cNvSpPr>
            <a:spLocks noGrp="1"/>
          </p:cNvSpPr>
          <p:nvPr>
            <p:ph type="title"/>
          </p:nvPr>
        </p:nvSpPr>
        <p:spPr/>
        <p:txBody>
          <a:bodyPr/>
          <a:lstStyle/>
          <a:p>
            <a:r>
              <a:rPr lang="en-US"/>
              <a:t>Click to edit Master title style</a:t>
            </a:r>
            <a:endParaRPr lang="en-AU" dirty="0"/>
          </a:p>
        </p:txBody>
      </p:sp>
      <p:sp>
        <p:nvSpPr>
          <p:cNvPr id="6" name="Date Placeholder 5">
            <a:extLst>
              <a:ext uri="{FF2B5EF4-FFF2-40B4-BE49-F238E27FC236}">
                <a16:creationId xmlns:a16="http://schemas.microsoft.com/office/drawing/2014/main" id="{EF2443BB-7A97-7B56-A32E-631D8CD62CBD}"/>
              </a:ext>
            </a:extLst>
          </p:cNvPr>
          <p:cNvSpPr>
            <a:spLocks noGrp="1"/>
          </p:cNvSpPr>
          <p:nvPr>
            <p:ph type="dt" sz="half" idx="10"/>
          </p:nvPr>
        </p:nvSpPr>
        <p:spPr/>
        <p:txBody>
          <a:bodyPr/>
          <a:lstStyle/>
          <a:p>
            <a:fld id="{973D4877-A18C-4E62-9946-F942ED83388C}" type="datetime1">
              <a:rPr lang="en-GB" smtClean="0"/>
              <a:t>31/07/2023</a:t>
            </a:fld>
            <a:endParaRPr lang="en-GB" dirty="0"/>
          </a:p>
        </p:txBody>
      </p:sp>
      <p:sp>
        <p:nvSpPr>
          <p:cNvPr id="7" name="Footer Placeholder 6">
            <a:extLst>
              <a:ext uri="{FF2B5EF4-FFF2-40B4-BE49-F238E27FC236}">
                <a16:creationId xmlns:a16="http://schemas.microsoft.com/office/drawing/2014/main" id="{F726E1DD-AD4E-67B7-C4F6-D1DB9008DB2D}"/>
              </a:ext>
            </a:extLst>
          </p:cNvPr>
          <p:cNvSpPr>
            <a:spLocks noGrp="1"/>
          </p:cNvSpPr>
          <p:nvPr>
            <p:ph type="ftr" sz="quarter" idx="11"/>
          </p:nvPr>
        </p:nvSpPr>
        <p:spPr/>
        <p:txBody>
          <a:bodyPr/>
          <a:lstStyle/>
          <a:p>
            <a:r>
              <a:rPr lang="en-GB"/>
              <a:t>To add a Footer, select 'Insert &gt; Header &amp; Footer'</a:t>
            </a:r>
            <a:endParaRPr lang="en-GB" dirty="0"/>
          </a:p>
        </p:txBody>
      </p:sp>
      <p:sp>
        <p:nvSpPr>
          <p:cNvPr id="8" name="Slide Number Placeholder 7">
            <a:extLst>
              <a:ext uri="{FF2B5EF4-FFF2-40B4-BE49-F238E27FC236}">
                <a16:creationId xmlns:a16="http://schemas.microsoft.com/office/drawing/2014/main" id="{D5844A66-C3CA-7B88-CD33-C6D0CC2B8D31}"/>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31997859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29A80C0-65A9-BC7C-D22E-85EE44CC74A3}"/>
              </a:ext>
            </a:extLst>
          </p:cNvPr>
          <p:cNvSpPr>
            <a:spLocks noGrp="1"/>
          </p:cNvSpPr>
          <p:nvPr>
            <p:ph type="dt" sz="half" idx="10"/>
          </p:nvPr>
        </p:nvSpPr>
        <p:spPr/>
        <p:txBody>
          <a:bodyPr/>
          <a:lstStyle/>
          <a:p>
            <a:fld id="{973D4877-A18C-4E62-9946-F942ED83388C}" type="datetime1">
              <a:rPr lang="en-GB" smtClean="0"/>
              <a:t>31/07/2023</a:t>
            </a:fld>
            <a:endParaRPr lang="en-GB" dirty="0"/>
          </a:p>
        </p:txBody>
      </p:sp>
      <p:sp>
        <p:nvSpPr>
          <p:cNvPr id="6" name="Footer Placeholder 5">
            <a:extLst>
              <a:ext uri="{FF2B5EF4-FFF2-40B4-BE49-F238E27FC236}">
                <a16:creationId xmlns:a16="http://schemas.microsoft.com/office/drawing/2014/main" id="{6E9D7BD5-0C96-0A6E-631D-DD3B95D284DD}"/>
              </a:ext>
            </a:extLst>
          </p:cNvPr>
          <p:cNvSpPr>
            <a:spLocks noGrp="1"/>
          </p:cNvSpPr>
          <p:nvPr>
            <p:ph type="ftr" sz="quarter" idx="11"/>
          </p:nvPr>
        </p:nvSpPr>
        <p:spPr/>
        <p:txBody>
          <a:bodyPr/>
          <a:lstStyle/>
          <a:p>
            <a:r>
              <a:rPr lang="en-GB"/>
              <a:t>To add a Footer, select 'Insert &gt; Header &amp; Footer'</a:t>
            </a:r>
            <a:endParaRPr lang="en-GB" dirty="0"/>
          </a:p>
        </p:txBody>
      </p:sp>
      <p:sp>
        <p:nvSpPr>
          <p:cNvPr id="7" name="Slide Number Placeholder 6">
            <a:extLst>
              <a:ext uri="{FF2B5EF4-FFF2-40B4-BE49-F238E27FC236}">
                <a16:creationId xmlns:a16="http://schemas.microsoft.com/office/drawing/2014/main" id="{02379D0F-B6EB-9705-927B-79B513BACF9E}"/>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16312938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Side panel small right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91997336"/>
              </p:ext>
            </p:extLst>
          </p:nvPr>
        </p:nvGraphicFramePr>
        <p:xfrm>
          <a:off x="1590" y="1589"/>
          <a:ext cx="1587" cy="1586"/>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90" y="1589"/>
                        <a:ext cx="1587" cy="1586"/>
                      </a:xfrm>
                      <a:prstGeom prst="rect">
                        <a:avLst/>
                      </a:prstGeom>
                    </p:spPr>
                  </p:pic>
                </p:oleObj>
              </mc:Fallback>
            </mc:AlternateContent>
          </a:graphicData>
        </a:graphic>
      </p:graphicFrame>
    </p:spTree>
    <p:extLst>
      <p:ext uri="{BB962C8B-B14F-4D97-AF65-F5344CB8AC3E}">
        <p14:creationId xmlns:p14="http://schemas.microsoft.com/office/powerpoint/2010/main" val="35738231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960402-3C59-568B-8720-CD2471B44F32}"/>
              </a:ext>
            </a:extLst>
          </p:cNvPr>
          <p:cNvGraphicFramePr>
            <a:graphicFrameLocks noChangeAspect="1"/>
          </p:cNvGraphicFramePr>
          <p:nvPr userDrawn="1">
            <p:custDataLst>
              <p:tags r:id="rId1"/>
            </p:custDataLst>
            <p:extLst>
              <p:ext uri="{D42A27DB-BD31-4B8C-83A1-F6EECF244321}">
                <p14:modId xmlns:p14="http://schemas.microsoft.com/office/powerpoint/2010/main" val="4249083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75960402-3C59-568B-8720-CD2471B44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6A5AB6B7-5A03-6E6B-3C82-35048F50AD4F}"/>
              </a:ext>
            </a:extLst>
          </p:cNvPr>
          <p:cNvSpPr/>
          <p:nvPr userDrawn="1"/>
        </p:nvSpPr>
        <p:spPr>
          <a:xfrm>
            <a:off x="-15936" y="-1"/>
            <a:ext cx="3795936" cy="75596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3" name="Content Placeholder 3">
            <a:extLst>
              <a:ext uri="{FF2B5EF4-FFF2-40B4-BE49-F238E27FC236}">
                <a16:creationId xmlns:a16="http://schemas.microsoft.com/office/drawing/2014/main" id="{1A91E799-F181-CEAC-095C-64E6DB790D41}"/>
              </a:ext>
            </a:extLst>
          </p:cNvPr>
          <p:cNvSpPr>
            <a:spLocks noGrp="1"/>
          </p:cNvSpPr>
          <p:nvPr>
            <p:ph sz="quarter" idx="33"/>
          </p:nvPr>
        </p:nvSpPr>
        <p:spPr>
          <a:xfrm>
            <a:off x="432000" y="648000"/>
            <a:ext cx="2916000" cy="6480000"/>
          </a:xfrm>
          <a:prstGeom prst="rect">
            <a:avLst/>
          </a:prstGeom>
        </p:spPr>
        <p:txBody>
          <a:bodyPr/>
          <a:lstStyle>
            <a:lvl1pPr rtl="0">
              <a:spcBef>
                <a:spcPts val="0"/>
              </a:spcBef>
              <a:spcAft>
                <a:spcPts val="1200"/>
              </a:spcAft>
              <a:defRPr sz="1050">
                <a:solidFill>
                  <a:schemeClr val="bg2"/>
                </a:solidFill>
              </a:defRPr>
            </a:lvl1pPr>
            <a:lvl2pPr rtl="0">
              <a:spcBef>
                <a:spcPts val="0"/>
              </a:spcBef>
              <a:spcAft>
                <a:spcPts val="1200"/>
              </a:spcAft>
              <a:buClrTx/>
              <a:defRPr sz="1050">
                <a:solidFill>
                  <a:schemeClr val="bg2"/>
                </a:solidFill>
              </a:defRPr>
            </a:lvl2pPr>
            <a:lvl3pPr rtl="0">
              <a:spcBef>
                <a:spcPts val="0"/>
              </a:spcBef>
              <a:spcAft>
                <a:spcPts val="1200"/>
              </a:spcAft>
              <a:buClrTx/>
              <a:defRPr sz="1050">
                <a:solidFill>
                  <a:schemeClr val="bg2"/>
                </a:solidFill>
              </a:defRPr>
            </a:lvl3pPr>
            <a:lvl4pPr rtl="0">
              <a:spcBef>
                <a:spcPts val="0"/>
              </a:spcBef>
              <a:spcAft>
                <a:spcPts val="1200"/>
              </a:spcAft>
              <a:buClrTx/>
              <a:defRPr sz="1050">
                <a:solidFill>
                  <a:schemeClr val="bg2"/>
                </a:solidFill>
              </a:defRPr>
            </a:lvl4pPr>
            <a:lvl5pPr rtl="0">
              <a:spcBef>
                <a:spcPts val="0"/>
              </a:spcBef>
              <a:spcAft>
                <a:spcPts val="1200"/>
              </a:spcAft>
              <a:buClrTx/>
              <a:defRPr sz="1050">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3" name="Text Placeholder 10">
            <a:extLst>
              <a:ext uri="{FF2B5EF4-FFF2-40B4-BE49-F238E27FC236}">
                <a16:creationId xmlns:a16="http://schemas.microsoft.com/office/drawing/2014/main" id="{F91C98AB-5009-493D-AAC8-25B80FA274E2}"/>
              </a:ext>
            </a:extLst>
          </p:cNvPr>
          <p:cNvSpPr>
            <a:spLocks noGrp="1"/>
          </p:cNvSpPr>
          <p:nvPr>
            <p:ph type="body" sz="quarter" idx="10" hasCustomPrompt="1"/>
          </p:nvPr>
        </p:nvSpPr>
        <p:spPr>
          <a:xfrm>
            <a:off x="4212000" y="576000"/>
            <a:ext cx="6047813" cy="346813"/>
          </a:xfrm>
          <a:prstGeom prst="rect">
            <a:avLst/>
          </a:prstGeom>
        </p:spPr>
        <p:txBody>
          <a:bodyPr tIns="36000" bIns="36000" anchor="t" anchorCtr="0"/>
          <a:lstStyle>
            <a:lvl1pPr>
              <a:defRPr lang="en-AU" sz="1800" b="0" kern="1200" spc="0" noProof="0" dirty="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vl5pPr>
              <a:defRPr/>
            </a:lvl5pPr>
          </a:lstStyle>
          <a:p>
            <a:pPr marL="0" lvl="0" indent="0" algn="l" defTabSz="995230" rtl="0" eaLnBrk="1" latinLnBrk="0" hangingPunct="1">
              <a:spcBef>
                <a:spcPts val="1306"/>
              </a:spcBef>
              <a:buFont typeface="Arial" pitchFamily="34" charset="0"/>
              <a:buNone/>
            </a:pPr>
            <a:r>
              <a:rPr lang="en-AU" noProof="0"/>
              <a:t>Governing thought</a:t>
            </a:r>
          </a:p>
        </p:txBody>
      </p:sp>
      <p:sp>
        <p:nvSpPr>
          <p:cNvPr id="4" name="Content Placeholder 5">
            <a:extLst>
              <a:ext uri="{FF2B5EF4-FFF2-40B4-BE49-F238E27FC236}">
                <a16:creationId xmlns:a16="http://schemas.microsoft.com/office/drawing/2014/main" id="{19978E7C-DB7E-405D-962F-A02F851002DA}"/>
              </a:ext>
            </a:extLst>
          </p:cNvPr>
          <p:cNvSpPr>
            <a:spLocks noGrp="1"/>
          </p:cNvSpPr>
          <p:nvPr>
            <p:ph sz="quarter" idx="14"/>
          </p:nvPr>
        </p:nvSpPr>
        <p:spPr>
          <a:xfrm>
            <a:off x="4212000" y="1116000"/>
            <a:ext cx="6047813" cy="5760000"/>
          </a:xfrm>
        </p:spPr>
        <p:txBody>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5" name="Text Placeholder 2">
            <a:extLst>
              <a:ext uri="{FF2B5EF4-FFF2-40B4-BE49-F238E27FC236}">
                <a16:creationId xmlns:a16="http://schemas.microsoft.com/office/drawing/2014/main" id="{50AE8B8E-9125-4A23-B8D3-E7E3B45F17DE}"/>
              </a:ext>
            </a:extLst>
          </p:cNvPr>
          <p:cNvSpPr>
            <a:spLocks noGrp="1"/>
          </p:cNvSpPr>
          <p:nvPr>
            <p:ph type="body" sz="quarter" idx="32" hasCustomPrompt="1"/>
          </p:nvPr>
        </p:nvSpPr>
        <p:spPr>
          <a:xfrm>
            <a:off x="4212000" y="6984000"/>
            <a:ext cx="6047813" cy="316600"/>
          </a:xfrm>
        </p:spPr>
        <p:txBody>
          <a:bodyPr anchor="ctr"/>
          <a:lstStyle>
            <a:lvl1pPr>
              <a:defRPr sz="950">
                <a:solidFill>
                  <a:schemeClr val="bg2"/>
                </a:solidFill>
              </a:defRPr>
            </a:lvl1pPr>
          </a:lstStyle>
          <a:p>
            <a:pPr lvl="0"/>
            <a:r>
              <a:rPr lang="en-AU" noProof="0"/>
              <a:t>Source</a:t>
            </a:r>
          </a:p>
        </p:txBody>
      </p:sp>
    </p:spTree>
    <p:extLst>
      <p:ext uri="{BB962C8B-B14F-4D97-AF65-F5344CB8AC3E}">
        <p14:creationId xmlns:p14="http://schemas.microsoft.com/office/powerpoint/2010/main" val="24381115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960402-3C59-568B-8720-CD2471B44F32}"/>
              </a:ext>
            </a:extLst>
          </p:cNvPr>
          <p:cNvGraphicFramePr>
            <a:graphicFrameLocks noChangeAspect="1"/>
          </p:cNvGraphicFramePr>
          <p:nvPr userDrawn="1">
            <p:custDataLst>
              <p:tags r:id="rId1"/>
            </p:custDataLst>
            <p:extLst>
              <p:ext uri="{D42A27DB-BD31-4B8C-83A1-F6EECF244321}">
                <p14:modId xmlns:p14="http://schemas.microsoft.com/office/powerpoint/2010/main" val="374593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75960402-3C59-568B-8720-CD2471B44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D0CFCC75-1729-47B7-E82A-B8C06B0FADB8}"/>
              </a:ext>
            </a:extLst>
          </p:cNvPr>
          <p:cNvSpPr/>
          <p:nvPr userDrawn="1"/>
        </p:nvSpPr>
        <p:spPr>
          <a:xfrm>
            <a:off x="6659814" y="0"/>
            <a:ext cx="4032186" cy="7559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Content Placeholder 3">
            <a:extLst>
              <a:ext uri="{FF2B5EF4-FFF2-40B4-BE49-F238E27FC236}">
                <a16:creationId xmlns:a16="http://schemas.microsoft.com/office/drawing/2014/main" id="{6D3F0F61-15F2-0969-D6EB-394D6A6F5E0B}"/>
              </a:ext>
            </a:extLst>
          </p:cNvPr>
          <p:cNvSpPr>
            <a:spLocks noGrp="1"/>
          </p:cNvSpPr>
          <p:nvPr>
            <p:ph sz="quarter" idx="33"/>
          </p:nvPr>
        </p:nvSpPr>
        <p:spPr>
          <a:xfrm>
            <a:off x="7099300" y="648000"/>
            <a:ext cx="3160514" cy="6480000"/>
          </a:xfrm>
          <a:prstGeom prst="rect">
            <a:avLst/>
          </a:prstGeom>
        </p:spPr>
        <p:txBody>
          <a:bodyPr/>
          <a:lstStyle>
            <a:lvl1pPr rtl="0">
              <a:spcBef>
                <a:spcPts val="0"/>
              </a:spcBef>
              <a:spcAft>
                <a:spcPts val="900"/>
              </a:spcAft>
              <a:defRPr sz="1050">
                <a:solidFill>
                  <a:schemeClr val="bg2"/>
                </a:solidFill>
              </a:defRPr>
            </a:lvl1pPr>
            <a:lvl2pPr rtl="0">
              <a:spcBef>
                <a:spcPts val="0"/>
              </a:spcBef>
              <a:spcAft>
                <a:spcPts val="900"/>
              </a:spcAft>
              <a:buClrTx/>
              <a:defRPr sz="1050">
                <a:solidFill>
                  <a:schemeClr val="bg2"/>
                </a:solidFill>
              </a:defRPr>
            </a:lvl2pPr>
            <a:lvl3pPr rtl="0">
              <a:spcBef>
                <a:spcPts val="0"/>
              </a:spcBef>
              <a:spcAft>
                <a:spcPts val="900"/>
              </a:spcAft>
              <a:buClrTx/>
              <a:defRPr sz="1050">
                <a:solidFill>
                  <a:schemeClr val="bg2"/>
                </a:solidFill>
              </a:defRPr>
            </a:lvl3pPr>
            <a:lvl4pPr rtl="0">
              <a:spcBef>
                <a:spcPts val="0"/>
              </a:spcBef>
              <a:spcAft>
                <a:spcPts val="900"/>
              </a:spcAft>
              <a:buClrTx/>
              <a:defRPr sz="1050">
                <a:solidFill>
                  <a:schemeClr val="bg2"/>
                </a:solidFill>
              </a:defRPr>
            </a:lvl4pPr>
            <a:lvl5pPr rtl="0">
              <a:spcBef>
                <a:spcPts val="0"/>
              </a:spcBef>
              <a:spcAft>
                <a:spcPts val="900"/>
              </a:spcAft>
              <a:buClrTx/>
              <a:defRPr sz="1050">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8" name="Text Placeholder 10">
            <a:extLst>
              <a:ext uri="{FF2B5EF4-FFF2-40B4-BE49-F238E27FC236}">
                <a16:creationId xmlns:a16="http://schemas.microsoft.com/office/drawing/2014/main" id="{F7D74ED6-1453-4A2A-FDE7-0034D66EA1EE}"/>
              </a:ext>
            </a:extLst>
          </p:cNvPr>
          <p:cNvSpPr>
            <a:spLocks noGrp="1"/>
          </p:cNvSpPr>
          <p:nvPr>
            <p:ph type="body" sz="quarter" idx="10" hasCustomPrompt="1"/>
          </p:nvPr>
        </p:nvSpPr>
        <p:spPr>
          <a:xfrm>
            <a:off x="431999" y="576000"/>
            <a:ext cx="5930701" cy="346813"/>
          </a:xfrm>
          <a:prstGeom prst="rect">
            <a:avLst/>
          </a:prstGeom>
        </p:spPr>
        <p:txBody>
          <a:bodyPr tIns="36000" bIns="36000" anchor="t" anchorCtr="0"/>
          <a:lstStyle>
            <a:lvl1pPr>
              <a:defRPr lang="en-AU" sz="1800" b="0" kern="1200" spc="0" noProof="0" dirty="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vl5pPr>
              <a:defRPr/>
            </a:lvl5pPr>
          </a:lstStyle>
          <a:p>
            <a:pPr marL="0" lvl="0" indent="0" algn="l" defTabSz="995230" rtl="0" eaLnBrk="1" latinLnBrk="0" hangingPunct="1">
              <a:spcBef>
                <a:spcPts val="1306"/>
              </a:spcBef>
              <a:buFont typeface="Arial" pitchFamily="34" charset="0"/>
              <a:buNone/>
            </a:pPr>
            <a:r>
              <a:rPr lang="en-AU" noProof="0"/>
              <a:t>Governing thought</a:t>
            </a:r>
          </a:p>
        </p:txBody>
      </p:sp>
      <p:sp>
        <p:nvSpPr>
          <p:cNvPr id="9" name="Content Placeholder 5">
            <a:extLst>
              <a:ext uri="{FF2B5EF4-FFF2-40B4-BE49-F238E27FC236}">
                <a16:creationId xmlns:a16="http://schemas.microsoft.com/office/drawing/2014/main" id="{25C1BFA1-97CE-91E9-0652-B277ED1095CA}"/>
              </a:ext>
            </a:extLst>
          </p:cNvPr>
          <p:cNvSpPr>
            <a:spLocks noGrp="1"/>
          </p:cNvSpPr>
          <p:nvPr>
            <p:ph sz="quarter" idx="14"/>
          </p:nvPr>
        </p:nvSpPr>
        <p:spPr>
          <a:xfrm>
            <a:off x="431999" y="1116000"/>
            <a:ext cx="5930701" cy="5760000"/>
          </a:xfrm>
        </p:spPr>
        <p:txBody>
          <a:bodyPr/>
          <a:lstStyle>
            <a:lvl1pPr>
              <a:spcBef>
                <a:spcPts val="0"/>
              </a:spcBef>
              <a:spcAft>
                <a:spcPts val="900"/>
              </a:spcAft>
              <a:defRPr sz="1050">
                <a:solidFill>
                  <a:schemeClr val="tx1"/>
                </a:solidFill>
              </a:defRPr>
            </a:lvl1pPr>
            <a:lvl2pPr>
              <a:spcBef>
                <a:spcPts val="0"/>
              </a:spcBef>
              <a:spcAft>
                <a:spcPts val="900"/>
              </a:spcAft>
              <a:defRPr sz="1050">
                <a:solidFill>
                  <a:schemeClr val="tx1"/>
                </a:solidFill>
              </a:defRPr>
            </a:lvl2pPr>
            <a:lvl3pPr>
              <a:spcBef>
                <a:spcPts val="0"/>
              </a:spcBef>
              <a:spcAft>
                <a:spcPts val="900"/>
              </a:spcAft>
              <a:defRPr sz="1050">
                <a:solidFill>
                  <a:schemeClr val="tx1"/>
                </a:solidFill>
              </a:defRPr>
            </a:lvl3pPr>
            <a:lvl4pPr>
              <a:spcBef>
                <a:spcPts val="0"/>
              </a:spcBef>
              <a:spcAft>
                <a:spcPts val="900"/>
              </a:spcAft>
              <a:defRPr sz="1050">
                <a:solidFill>
                  <a:schemeClr val="tx1"/>
                </a:solidFill>
              </a:defRPr>
            </a:lvl4pPr>
            <a:lvl5pPr>
              <a:spcBef>
                <a:spcPts val="0"/>
              </a:spcBef>
              <a:spcAft>
                <a:spcPts val="900"/>
              </a:spcAft>
              <a:defRPr sz="105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0" name="Text Placeholder 2">
            <a:extLst>
              <a:ext uri="{FF2B5EF4-FFF2-40B4-BE49-F238E27FC236}">
                <a16:creationId xmlns:a16="http://schemas.microsoft.com/office/drawing/2014/main" id="{4A033827-4611-4864-E527-8B5394DAA7E5}"/>
              </a:ext>
            </a:extLst>
          </p:cNvPr>
          <p:cNvSpPr>
            <a:spLocks noGrp="1"/>
          </p:cNvSpPr>
          <p:nvPr>
            <p:ph type="body" sz="quarter" idx="32" hasCustomPrompt="1"/>
          </p:nvPr>
        </p:nvSpPr>
        <p:spPr>
          <a:xfrm>
            <a:off x="432000" y="6984000"/>
            <a:ext cx="5930700" cy="316600"/>
          </a:xfrm>
        </p:spPr>
        <p:txBody>
          <a:bodyPr anchor="ctr"/>
          <a:lstStyle>
            <a:lvl1pPr>
              <a:defRPr sz="950">
                <a:solidFill>
                  <a:schemeClr val="bg2"/>
                </a:solidFill>
              </a:defRPr>
            </a:lvl1pPr>
          </a:lstStyle>
          <a:p>
            <a:pPr lvl="0"/>
            <a:r>
              <a:rPr lang="en-AU" noProof="0"/>
              <a:t>Source</a:t>
            </a:r>
          </a:p>
        </p:txBody>
      </p:sp>
    </p:spTree>
    <p:extLst>
      <p:ext uri="{BB962C8B-B14F-4D97-AF65-F5344CB8AC3E}">
        <p14:creationId xmlns:p14="http://schemas.microsoft.com/office/powerpoint/2010/main" val="5579512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dark">
    <p:spTree>
      <p:nvGrpSpPr>
        <p:cNvPr id="1" name=""/>
        <p:cNvGrpSpPr/>
        <p:nvPr/>
      </p:nvGrpSpPr>
      <p:grpSpPr>
        <a:xfrm>
          <a:off x="0" y="0"/>
          <a:ext cx="0" cy="0"/>
          <a:chOff x="0" y="0"/>
          <a:chExt cx="0" cy="0"/>
        </a:xfrm>
      </p:grpSpPr>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568002" y="614693"/>
            <a:ext cx="5366953" cy="1587333"/>
          </a:xfrm>
        </p:spPr>
        <p:txBody>
          <a:bodyPr/>
          <a:lstStyle>
            <a:lvl1pPr marL="0" indent="0" algn="l">
              <a:buNone/>
              <a:defRPr sz="3417" b="0">
                <a:solidFill>
                  <a:schemeClr val="accent6"/>
                </a:solidFill>
              </a:defRPr>
            </a:lvl1pPr>
            <a:lvl2pPr marL="0" indent="0" algn="l">
              <a:buNone/>
              <a:defRPr sz="2535" b="0">
                <a:solidFill>
                  <a:schemeClr val="accent6"/>
                </a:solidFill>
              </a:defRPr>
            </a:lvl2pPr>
            <a:lvl3pPr marL="0" indent="0" algn="l">
              <a:buNone/>
              <a:defRPr sz="2535" b="0">
                <a:solidFill>
                  <a:schemeClr val="accent6"/>
                </a:solidFill>
              </a:defRPr>
            </a:lvl3pPr>
            <a:lvl4pPr marL="0" indent="0" algn="l">
              <a:buNone/>
              <a:defRPr sz="2535" b="0">
                <a:solidFill>
                  <a:schemeClr val="accent6"/>
                </a:solidFill>
              </a:defRPr>
            </a:lvl4pPr>
            <a:lvl5pPr marL="0" indent="0" algn="l">
              <a:buNone/>
              <a:defRPr sz="2535" b="0">
                <a:solidFill>
                  <a:schemeClr val="accent6"/>
                </a:solidFill>
              </a:defRPr>
            </a:lvl5pPr>
            <a:lvl6pPr marL="0" indent="0" algn="l">
              <a:buNone/>
              <a:defRPr sz="2535" b="0">
                <a:solidFill>
                  <a:schemeClr val="accent6"/>
                </a:solidFill>
              </a:defRPr>
            </a:lvl6pPr>
            <a:lvl7pPr marL="0" indent="0" algn="l">
              <a:buNone/>
              <a:defRPr sz="2535" b="0">
                <a:solidFill>
                  <a:schemeClr val="accent6"/>
                </a:solidFill>
              </a:defRPr>
            </a:lvl7pPr>
            <a:lvl8pPr marL="0" indent="0" algn="l">
              <a:buNone/>
              <a:defRPr sz="2535" b="0">
                <a:solidFill>
                  <a:schemeClr val="accent6"/>
                </a:solidFill>
              </a:defRPr>
            </a:lvl8pPr>
            <a:lvl9pPr marL="0" indent="0" algn="l">
              <a:buNone/>
              <a:defRPr sz="2535"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6" name="Free-form: Shape 5">
            <a:extLst>
              <a:ext uri="{FF2B5EF4-FFF2-40B4-BE49-F238E27FC236}">
                <a16:creationId xmlns:a16="http://schemas.microsoft.com/office/drawing/2014/main" id="{61B08C00-0226-56F5-FDD7-5FA0EF3DB3D2}"/>
              </a:ext>
            </a:extLst>
          </p:cNvPr>
          <p:cNvSpPr/>
          <p:nvPr/>
        </p:nvSpPr>
        <p:spPr>
          <a:xfrm>
            <a:off x="1" y="2462353"/>
            <a:ext cx="10699395" cy="4400882"/>
          </a:xfrm>
          <a:custGeom>
            <a:avLst/>
            <a:gdLst>
              <a:gd name="connsiteX0" fmla="*/ 0 w 8820023"/>
              <a:gd name="connsiteY0" fmla="*/ 0 h 3990721"/>
              <a:gd name="connsiteX1" fmla="*/ 8820023 w 8820023"/>
              <a:gd name="connsiteY1" fmla="*/ 0 h 3990721"/>
              <a:gd name="connsiteX2" fmla="*/ 8820023 w 8820023"/>
              <a:gd name="connsiteY2" fmla="*/ 3990721 h 3990721"/>
              <a:gd name="connsiteX3" fmla="*/ 0 w 8820023"/>
              <a:gd name="connsiteY3" fmla="*/ 3990721 h 3990721"/>
            </a:gdLst>
            <a:ahLst/>
            <a:cxnLst>
              <a:cxn ang="0">
                <a:pos x="connsiteX0" y="connsiteY0"/>
              </a:cxn>
              <a:cxn ang="0">
                <a:pos x="connsiteX1" y="connsiteY1"/>
              </a:cxn>
              <a:cxn ang="0">
                <a:pos x="connsiteX2" y="connsiteY2"/>
              </a:cxn>
              <a:cxn ang="0">
                <a:pos x="connsiteX3" y="connsiteY3"/>
              </a:cxn>
            </a:cxnLst>
            <a:rect l="l" t="t" r="r" b="b"/>
            <a:pathLst>
              <a:path w="8820023" h="3990721">
                <a:moveTo>
                  <a:pt x="0" y="0"/>
                </a:moveTo>
                <a:lnTo>
                  <a:pt x="8820023" y="0"/>
                </a:lnTo>
                <a:lnTo>
                  <a:pt x="8820023" y="3990721"/>
                </a:lnTo>
                <a:lnTo>
                  <a:pt x="0" y="3990721"/>
                </a:lnTo>
                <a:close/>
              </a:path>
            </a:pathLst>
          </a:custGeom>
          <a:solidFill>
            <a:srgbClr val="53565A"/>
          </a:solidFill>
          <a:ln w="12695" cap="flat">
            <a:noFill/>
            <a:prstDash val="solid"/>
            <a:miter/>
          </a:ln>
        </p:spPr>
        <p:txBody>
          <a:bodyPr rtlCol="0" anchor="ctr"/>
          <a:lstStyle/>
          <a:p>
            <a:endParaRPr lang="en-AU" sz="2263">
              <a:solidFill>
                <a:schemeClr val="accent6"/>
              </a:solidFill>
            </a:endParaRPr>
          </a:p>
        </p:txBody>
      </p:sp>
      <p:sp>
        <p:nvSpPr>
          <p:cNvPr id="8" name="Free-form: Shape 7">
            <a:extLst>
              <a:ext uri="{FF2B5EF4-FFF2-40B4-BE49-F238E27FC236}">
                <a16:creationId xmlns:a16="http://schemas.microsoft.com/office/drawing/2014/main" id="{1F1CE9E1-B56A-8EC2-7642-3210B9EB7C8C}"/>
              </a:ext>
            </a:extLst>
          </p:cNvPr>
          <p:cNvSpPr/>
          <p:nvPr/>
        </p:nvSpPr>
        <p:spPr>
          <a:xfrm>
            <a:off x="5418084" y="0"/>
            <a:ext cx="3039296" cy="3659583"/>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2263">
              <a:solidFill>
                <a:schemeClr val="accent6"/>
              </a:solidFill>
            </a:endParaRPr>
          </a:p>
        </p:txBody>
      </p:sp>
      <p:sp>
        <p:nvSpPr>
          <p:cNvPr id="9" name="Free-form: Shape 8">
            <a:extLst>
              <a:ext uri="{FF2B5EF4-FFF2-40B4-BE49-F238E27FC236}">
                <a16:creationId xmlns:a16="http://schemas.microsoft.com/office/drawing/2014/main" id="{DCC001F1-4860-1CC5-8CBC-225BC0A9D236}"/>
              </a:ext>
            </a:extLst>
          </p:cNvPr>
          <p:cNvSpPr/>
          <p:nvPr/>
        </p:nvSpPr>
        <p:spPr>
          <a:xfrm>
            <a:off x="6017272" y="2462353"/>
            <a:ext cx="1201788" cy="1197229"/>
          </a:xfrm>
          <a:custGeom>
            <a:avLst/>
            <a:gdLst>
              <a:gd name="connsiteX0" fmla="*/ 510921 w 1027810"/>
              <a:gd name="connsiteY0" fmla="*/ 1086104 h 1086104"/>
              <a:gd name="connsiteX1" fmla="*/ 1027811 w 1027810"/>
              <a:gd name="connsiteY1" fmla="*/ 0 h 1086104"/>
              <a:gd name="connsiteX2" fmla="*/ 0 w 1027810"/>
              <a:gd name="connsiteY2" fmla="*/ 0 h 1086104"/>
              <a:gd name="connsiteX3" fmla="*/ 510921 w 1027810"/>
              <a:gd name="connsiteY3" fmla="*/ 1086104 h 1086104"/>
            </a:gdLst>
            <a:ahLst/>
            <a:cxnLst>
              <a:cxn ang="0">
                <a:pos x="connsiteX0" y="connsiteY0"/>
              </a:cxn>
              <a:cxn ang="0">
                <a:pos x="connsiteX1" y="connsiteY1"/>
              </a:cxn>
              <a:cxn ang="0">
                <a:pos x="connsiteX2" y="connsiteY2"/>
              </a:cxn>
              <a:cxn ang="0">
                <a:pos x="connsiteX3" y="connsiteY3"/>
              </a:cxn>
            </a:cxnLst>
            <a:rect l="l" t="t" r="r" b="b"/>
            <a:pathLst>
              <a:path w="1027810" h="1086104">
                <a:moveTo>
                  <a:pt x="510921" y="1086104"/>
                </a:moveTo>
                <a:lnTo>
                  <a:pt x="1027811" y="0"/>
                </a:lnTo>
                <a:lnTo>
                  <a:pt x="0" y="0"/>
                </a:lnTo>
                <a:cubicBezTo>
                  <a:pt x="0" y="0"/>
                  <a:pt x="510921" y="1086104"/>
                  <a:pt x="510921" y="1086104"/>
                </a:cubicBezTo>
                <a:close/>
              </a:path>
            </a:pathLst>
          </a:custGeom>
          <a:solidFill>
            <a:srgbClr val="FFFFFF">
              <a:alpha val="30000"/>
            </a:srgbClr>
          </a:solidFill>
          <a:ln w="6350" cap="flat">
            <a:noFill/>
            <a:prstDash val="solid"/>
            <a:miter/>
          </a:ln>
        </p:spPr>
        <p:txBody>
          <a:bodyPr rtlCol="0" anchor="ctr"/>
          <a:lstStyle/>
          <a:p>
            <a:pPr lvl="0"/>
            <a:endParaRPr lang="en-AU" sz="2263">
              <a:solidFill>
                <a:schemeClr val="accent6"/>
              </a:solidFill>
            </a:endParaRPr>
          </a:p>
        </p:txBody>
      </p:sp>
      <p:sp>
        <p:nvSpPr>
          <p:cNvPr id="10" name="Free-form: Shape 9">
            <a:extLst>
              <a:ext uri="{FF2B5EF4-FFF2-40B4-BE49-F238E27FC236}">
                <a16:creationId xmlns:a16="http://schemas.microsoft.com/office/drawing/2014/main" id="{A5B08A13-0E33-5FD8-469F-81F11D14C908}"/>
              </a:ext>
            </a:extLst>
          </p:cNvPr>
          <p:cNvSpPr/>
          <p:nvPr/>
        </p:nvSpPr>
        <p:spPr>
          <a:xfrm>
            <a:off x="4820679" y="2462353"/>
            <a:ext cx="1793997" cy="1197229"/>
          </a:xfrm>
          <a:custGeom>
            <a:avLst/>
            <a:gdLst>
              <a:gd name="connsiteX0" fmla="*/ 1534287 w 1534287"/>
              <a:gd name="connsiteY0" fmla="*/ 1086104 h 1086104"/>
              <a:gd name="connsiteX1" fmla="*/ 1023366 w 1534287"/>
              <a:gd name="connsiteY1" fmla="*/ 0 h 1086104"/>
              <a:gd name="connsiteX2" fmla="*/ 0 w 1534287"/>
              <a:gd name="connsiteY2" fmla="*/ 0 h 1086104"/>
              <a:gd name="connsiteX3" fmla="*/ 510921 w 1534287"/>
              <a:gd name="connsiteY3" fmla="*/ 1086104 h 1086104"/>
              <a:gd name="connsiteX4" fmla="*/ 1534287 w 1534287"/>
              <a:gd name="connsiteY4" fmla="*/ 1086104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1534287" y="1086104"/>
                </a:moveTo>
                <a:lnTo>
                  <a:pt x="1023366" y="0"/>
                </a:lnTo>
                <a:lnTo>
                  <a:pt x="0" y="0"/>
                </a:lnTo>
                <a:cubicBezTo>
                  <a:pt x="0" y="0"/>
                  <a:pt x="510921" y="1086104"/>
                  <a:pt x="510921" y="1086104"/>
                </a:cubicBezTo>
                <a:lnTo>
                  <a:pt x="1534287" y="1086104"/>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
        <p:nvSpPr>
          <p:cNvPr id="16" name="Free-form: Shape 15">
            <a:extLst>
              <a:ext uri="{FF2B5EF4-FFF2-40B4-BE49-F238E27FC236}">
                <a16:creationId xmlns:a16="http://schemas.microsoft.com/office/drawing/2014/main" id="{E9193096-0970-2A9D-D1E9-19E1B557CC8D}"/>
              </a:ext>
            </a:extLst>
          </p:cNvPr>
          <p:cNvSpPr/>
          <p:nvPr/>
        </p:nvSpPr>
        <p:spPr>
          <a:xfrm>
            <a:off x="6483849" y="5338110"/>
            <a:ext cx="2510052" cy="1954176"/>
          </a:xfrm>
          <a:custGeom>
            <a:avLst/>
            <a:gdLst>
              <a:gd name="connsiteX0" fmla="*/ 841629 w 2146681"/>
              <a:gd name="connsiteY0" fmla="*/ 0 h 1772793"/>
              <a:gd name="connsiteX1" fmla="*/ 185674 w 2146681"/>
              <a:gd name="connsiteY1" fmla="*/ 1381887 h 1772793"/>
              <a:gd name="connsiteX2" fmla="*/ 185674 w 2146681"/>
              <a:gd name="connsiteY2" fmla="*/ 1381887 h 1772793"/>
              <a:gd name="connsiteX3" fmla="*/ 0 w 2146681"/>
              <a:gd name="connsiteY3" fmla="*/ 1772793 h 1772793"/>
              <a:gd name="connsiteX4" fmla="*/ 1305814 w 2146681"/>
              <a:gd name="connsiteY4" fmla="*/ 1772793 h 1772793"/>
              <a:gd name="connsiteX5" fmla="*/ 1491107 w 2146681"/>
              <a:gd name="connsiteY5" fmla="*/ 1381887 h 1772793"/>
              <a:gd name="connsiteX6" fmla="*/ 2146681 w 2146681"/>
              <a:gd name="connsiteY6" fmla="*/ 0 h 1772793"/>
              <a:gd name="connsiteX7" fmla="*/ 841629 w 2146681"/>
              <a:gd name="connsiteY7" fmla="*/ 0 h 177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6681" h="1772793">
                <a:moveTo>
                  <a:pt x="841629" y="0"/>
                </a:moveTo>
                <a:lnTo>
                  <a:pt x="185674" y="1381887"/>
                </a:lnTo>
                <a:lnTo>
                  <a:pt x="185674" y="1381887"/>
                </a:lnTo>
                <a:lnTo>
                  <a:pt x="0" y="1772793"/>
                </a:lnTo>
                <a:lnTo>
                  <a:pt x="1305814" y="1772793"/>
                </a:lnTo>
                <a:lnTo>
                  <a:pt x="1491107" y="1381887"/>
                </a:lnTo>
                <a:lnTo>
                  <a:pt x="2146681" y="0"/>
                </a:lnTo>
                <a:lnTo>
                  <a:pt x="841629" y="0"/>
                </a:lnTo>
                <a:close/>
              </a:path>
            </a:pathLst>
          </a:custGeom>
          <a:solidFill>
            <a:srgbClr val="00B2A9"/>
          </a:solidFill>
          <a:ln w="12695" cap="flat">
            <a:noFill/>
            <a:prstDash val="solid"/>
            <a:miter/>
          </a:ln>
        </p:spPr>
        <p:txBody>
          <a:bodyPr rtlCol="0" anchor="ctr"/>
          <a:lstStyle/>
          <a:p>
            <a:endParaRPr lang="en-AU" sz="2263">
              <a:solidFill>
                <a:schemeClr val="accent6"/>
              </a:solidFill>
            </a:endParaRPr>
          </a:p>
        </p:txBody>
      </p:sp>
      <p:sp>
        <p:nvSpPr>
          <p:cNvPr id="17" name="Free-form: Shape 16">
            <a:extLst>
              <a:ext uri="{FF2B5EF4-FFF2-40B4-BE49-F238E27FC236}">
                <a16:creationId xmlns:a16="http://schemas.microsoft.com/office/drawing/2014/main" id="{F401E06B-775A-30BB-3913-21352C520CFE}"/>
              </a:ext>
            </a:extLst>
          </p:cNvPr>
          <p:cNvSpPr/>
          <p:nvPr/>
        </p:nvSpPr>
        <p:spPr>
          <a:xfrm>
            <a:off x="6700954" y="5338110"/>
            <a:ext cx="1526405" cy="1523273"/>
          </a:xfrm>
          <a:custGeom>
            <a:avLst/>
            <a:gdLst>
              <a:gd name="connsiteX0" fmla="*/ 655955 w 1305433"/>
              <a:gd name="connsiteY0" fmla="*/ 0 h 1381886"/>
              <a:gd name="connsiteX1" fmla="*/ 0 w 1305433"/>
              <a:gd name="connsiteY1" fmla="*/ 1381887 h 1381886"/>
              <a:gd name="connsiteX2" fmla="*/ 1305433 w 1305433"/>
              <a:gd name="connsiteY2" fmla="*/ 1381887 h 1381886"/>
              <a:gd name="connsiteX3" fmla="*/ 655955 w 1305433"/>
              <a:gd name="connsiteY3" fmla="*/ 0 h 1381886"/>
            </a:gdLst>
            <a:ahLst/>
            <a:cxnLst>
              <a:cxn ang="0">
                <a:pos x="connsiteX0" y="connsiteY0"/>
              </a:cxn>
              <a:cxn ang="0">
                <a:pos x="connsiteX1" y="connsiteY1"/>
              </a:cxn>
              <a:cxn ang="0">
                <a:pos x="connsiteX2" y="connsiteY2"/>
              </a:cxn>
              <a:cxn ang="0">
                <a:pos x="connsiteX3" y="connsiteY3"/>
              </a:cxn>
            </a:cxnLst>
            <a:rect l="l" t="t" r="r" b="b"/>
            <a:pathLst>
              <a:path w="1305433" h="1381886">
                <a:moveTo>
                  <a:pt x="655955" y="0"/>
                </a:moveTo>
                <a:lnTo>
                  <a:pt x="0" y="1381887"/>
                </a:lnTo>
                <a:lnTo>
                  <a:pt x="1305433" y="1381887"/>
                </a:lnTo>
                <a:lnTo>
                  <a:pt x="655955" y="0"/>
                </a:lnTo>
                <a:close/>
              </a:path>
            </a:pathLst>
          </a:custGeom>
          <a:solidFill>
            <a:srgbClr val="FFFFFF">
              <a:alpha val="30000"/>
            </a:srgbClr>
          </a:solidFill>
          <a:ln w="6350" cap="flat">
            <a:noFill/>
            <a:prstDash val="solid"/>
            <a:miter/>
          </a:ln>
        </p:spPr>
        <p:txBody>
          <a:bodyPr rtlCol="0" anchor="ctr"/>
          <a:lstStyle/>
          <a:p>
            <a:pPr lvl="0"/>
            <a:endParaRPr lang="en-AU" sz="2263">
              <a:solidFill>
                <a:schemeClr val="accent6"/>
              </a:solidFill>
            </a:endParaRPr>
          </a:p>
        </p:txBody>
      </p:sp>
      <p:sp>
        <p:nvSpPr>
          <p:cNvPr id="18" name="Free-form: Shape 17">
            <a:extLst>
              <a:ext uri="{FF2B5EF4-FFF2-40B4-BE49-F238E27FC236}">
                <a16:creationId xmlns:a16="http://schemas.microsoft.com/office/drawing/2014/main" id="{4A622ED0-B24F-3B6E-F173-57D708F0907F}"/>
              </a:ext>
            </a:extLst>
          </p:cNvPr>
          <p:cNvSpPr/>
          <p:nvPr/>
        </p:nvSpPr>
        <p:spPr>
          <a:xfrm>
            <a:off x="7467943" y="5338110"/>
            <a:ext cx="2285375" cy="1523273"/>
          </a:xfrm>
          <a:custGeom>
            <a:avLst/>
            <a:gdLst>
              <a:gd name="connsiteX0" fmla="*/ 0 w 1954530"/>
              <a:gd name="connsiteY0" fmla="*/ 0 h 1381886"/>
              <a:gd name="connsiteX1" fmla="*/ 649478 w 1954530"/>
              <a:gd name="connsiteY1" fmla="*/ 1381887 h 1381886"/>
              <a:gd name="connsiteX2" fmla="*/ 1954530 w 1954530"/>
              <a:gd name="connsiteY2" fmla="*/ 1381887 h 1381886"/>
              <a:gd name="connsiteX3" fmla="*/ 1305052 w 1954530"/>
              <a:gd name="connsiteY3" fmla="*/ 0 h 1381886"/>
              <a:gd name="connsiteX4" fmla="*/ 0 w 1954530"/>
              <a:gd name="connsiteY4" fmla="*/ 0 h 1381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4530" h="1381886">
                <a:moveTo>
                  <a:pt x="0" y="0"/>
                </a:moveTo>
                <a:lnTo>
                  <a:pt x="649478" y="1381887"/>
                </a:lnTo>
                <a:lnTo>
                  <a:pt x="1954530" y="1381887"/>
                </a:lnTo>
                <a:cubicBezTo>
                  <a:pt x="1954530" y="1381887"/>
                  <a:pt x="1305052" y="0"/>
                  <a:pt x="1305052" y="0"/>
                </a:cubicBezTo>
                <a:lnTo>
                  <a:pt x="0" y="0"/>
                </a:lnTo>
                <a:close/>
              </a:path>
            </a:pathLst>
          </a:custGeom>
          <a:solidFill>
            <a:srgbClr val="FFFFFF">
              <a:alpha val="50000"/>
            </a:srgbClr>
          </a:solidFill>
          <a:ln w="6350" cap="flat">
            <a:noFill/>
            <a:prstDash val="solid"/>
            <a:miter/>
          </a:ln>
        </p:spPr>
        <p:txBody>
          <a:bodyPr rtlCol="0" anchor="ctr"/>
          <a:lstStyle/>
          <a:p>
            <a:pPr lvl="0"/>
            <a:endParaRPr lang="en-AU" sz="2263">
              <a:solidFill>
                <a:schemeClr val="accent6"/>
              </a:solidFill>
            </a:endParaRPr>
          </a:p>
        </p:txBody>
      </p:sp>
      <p:sp>
        <p:nvSpPr>
          <p:cNvPr id="19" name="Free-form: Shape 18">
            <a:extLst>
              <a:ext uri="{FF2B5EF4-FFF2-40B4-BE49-F238E27FC236}">
                <a16:creationId xmlns:a16="http://schemas.microsoft.com/office/drawing/2014/main" id="{08AA25C4-22B1-CB03-84BA-7BD988A74B2E}"/>
              </a:ext>
            </a:extLst>
          </p:cNvPr>
          <p:cNvSpPr/>
          <p:nvPr/>
        </p:nvSpPr>
        <p:spPr>
          <a:xfrm>
            <a:off x="6350202" y="6861384"/>
            <a:ext cx="1877156" cy="698290"/>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2263">
              <a:solidFill>
                <a:schemeClr val="accent6"/>
              </a:solidFill>
            </a:endParaRPr>
          </a:p>
        </p:txBody>
      </p:sp>
      <p:pic>
        <p:nvPicPr>
          <p:cNvPr id="20" name="Graphic 19">
            <a:extLst>
              <a:ext uri="{FF2B5EF4-FFF2-40B4-BE49-F238E27FC236}">
                <a16:creationId xmlns:a16="http://schemas.microsoft.com/office/drawing/2014/main" id="{71028729-A80B-CFBD-7F6F-30AE340985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07087" y="997347"/>
            <a:ext cx="1961508" cy="567943"/>
          </a:xfrm>
          <a:prstGeom prst="rect">
            <a:avLst/>
          </a:prstGeom>
        </p:spPr>
      </p:pic>
      <p:sp>
        <p:nvSpPr>
          <p:cNvPr id="23" name="Footer Placeholder 22">
            <a:extLst>
              <a:ext uri="{FF2B5EF4-FFF2-40B4-BE49-F238E27FC236}">
                <a16:creationId xmlns:a16="http://schemas.microsoft.com/office/drawing/2014/main" id="{033E79D6-E595-ECEE-10ED-A5E97240EFF9}"/>
              </a:ext>
            </a:extLst>
          </p:cNvPr>
          <p:cNvSpPr>
            <a:spLocks noGrp="1"/>
          </p:cNvSpPr>
          <p:nvPr>
            <p:ph type="ftr" sz="quarter" idx="11"/>
          </p:nvPr>
        </p:nvSpPr>
        <p:spPr/>
        <p:txBody>
          <a:bodyPr/>
          <a:lstStyle>
            <a:lvl1pPr>
              <a:defRPr>
                <a:solidFill>
                  <a:schemeClr val="accent6"/>
                </a:solidFill>
              </a:defRPr>
            </a:lvl1pPr>
          </a:lstStyle>
          <a:p>
            <a:r>
              <a:rPr lang="en-GB"/>
              <a:t>To add a Footer, select 'Insert &gt; Header &amp; Footer'</a:t>
            </a:r>
            <a:endParaRPr lang="en-GB" dirty="0"/>
          </a:p>
        </p:txBody>
      </p:sp>
      <p:sp>
        <p:nvSpPr>
          <p:cNvPr id="25" name="Slide Number Placeholder 24">
            <a:extLst>
              <a:ext uri="{FF2B5EF4-FFF2-40B4-BE49-F238E27FC236}">
                <a16:creationId xmlns:a16="http://schemas.microsoft.com/office/drawing/2014/main" id="{EB24A637-B2FA-CB5F-8581-6598E9C59D96}"/>
              </a:ext>
            </a:extLst>
          </p:cNvPr>
          <p:cNvSpPr>
            <a:spLocks noGrp="1"/>
          </p:cNvSpPr>
          <p:nvPr>
            <p:ph type="sldNum" sz="quarter" idx="12"/>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cxnSp>
        <p:nvCxnSpPr>
          <p:cNvPr id="27" name="Straight Connector 26">
            <a:extLst>
              <a:ext uri="{FF2B5EF4-FFF2-40B4-BE49-F238E27FC236}">
                <a16:creationId xmlns:a16="http://schemas.microsoft.com/office/drawing/2014/main" id="{6F0F89C6-5D9B-55DA-9539-83F396DFFBA1}"/>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81583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960402-3C59-568B-8720-CD2471B44F32}"/>
              </a:ext>
            </a:extLst>
          </p:cNvPr>
          <p:cNvGraphicFramePr>
            <a:graphicFrameLocks noChangeAspect="1"/>
          </p:cNvGraphicFramePr>
          <p:nvPr userDrawn="1">
            <p:custDataLst>
              <p:tags r:id="rId1"/>
            </p:custDataLst>
            <p:extLst>
              <p:ext uri="{D42A27DB-BD31-4B8C-83A1-F6EECF244321}">
                <p14:modId xmlns:p14="http://schemas.microsoft.com/office/powerpoint/2010/main" val="374593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75960402-3C59-568B-8720-CD2471B44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D0CFCC75-1729-47B7-E82A-B8C06B0FADB8}"/>
              </a:ext>
            </a:extLst>
          </p:cNvPr>
          <p:cNvSpPr/>
          <p:nvPr userDrawn="1"/>
        </p:nvSpPr>
        <p:spPr>
          <a:xfrm>
            <a:off x="7647799" y="0"/>
            <a:ext cx="3045600" cy="7559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Content Placeholder 3">
            <a:extLst>
              <a:ext uri="{FF2B5EF4-FFF2-40B4-BE49-F238E27FC236}">
                <a16:creationId xmlns:a16="http://schemas.microsoft.com/office/drawing/2014/main" id="{6D3F0F61-15F2-0969-D6EB-394D6A6F5E0B}"/>
              </a:ext>
            </a:extLst>
          </p:cNvPr>
          <p:cNvSpPr>
            <a:spLocks noGrp="1"/>
          </p:cNvSpPr>
          <p:nvPr>
            <p:ph sz="quarter" idx="33"/>
          </p:nvPr>
        </p:nvSpPr>
        <p:spPr>
          <a:xfrm>
            <a:off x="8064000" y="648000"/>
            <a:ext cx="2195814" cy="6480000"/>
          </a:xfrm>
          <a:prstGeom prst="rect">
            <a:avLst/>
          </a:prstGeom>
        </p:spPr>
        <p:txBody>
          <a:bodyPr/>
          <a:lstStyle>
            <a:lvl1pPr rtl="0">
              <a:spcBef>
                <a:spcPts val="0"/>
              </a:spcBef>
              <a:spcAft>
                <a:spcPts val="900"/>
              </a:spcAft>
              <a:defRPr sz="1050">
                <a:solidFill>
                  <a:schemeClr val="bg2"/>
                </a:solidFill>
              </a:defRPr>
            </a:lvl1pPr>
            <a:lvl2pPr rtl="0">
              <a:spcBef>
                <a:spcPts val="0"/>
              </a:spcBef>
              <a:spcAft>
                <a:spcPts val="900"/>
              </a:spcAft>
              <a:buClrTx/>
              <a:defRPr sz="1050">
                <a:solidFill>
                  <a:schemeClr val="bg2"/>
                </a:solidFill>
              </a:defRPr>
            </a:lvl2pPr>
            <a:lvl3pPr rtl="0">
              <a:spcBef>
                <a:spcPts val="0"/>
              </a:spcBef>
              <a:spcAft>
                <a:spcPts val="900"/>
              </a:spcAft>
              <a:buClrTx/>
              <a:defRPr sz="1050">
                <a:solidFill>
                  <a:schemeClr val="bg2"/>
                </a:solidFill>
              </a:defRPr>
            </a:lvl3pPr>
            <a:lvl4pPr rtl="0">
              <a:spcBef>
                <a:spcPts val="0"/>
              </a:spcBef>
              <a:spcAft>
                <a:spcPts val="900"/>
              </a:spcAft>
              <a:buClrTx/>
              <a:defRPr sz="1050">
                <a:solidFill>
                  <a:schemeClr val="bg2"/>
                </a:solidFill>
              </a:defRPr>
            </a:lvl4pPr>
            <a:lvl5pPr rtl="0">
              <a:spcBef>
                <a:spcPts val="0"/>
              </a:spcBef>
              <a:spcAft>
                <a:spcPts val="900"/>
              </a:spcAft>
              <a:buClrTx/>
              <a:defRPr sz="1050">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8" name="Text Placeholder 10">
            <a:extLst>
              <a:ext uri="{FF2B5EF4-FFF2-40B4-BE49-F238E27FC236}">
                <a16:creationId xmlns:a16="http://schemas.microsoft.com/office/drawing/2014/main" id="{F7D74ED6-1453-4A2A-FDE7-0034D66EA1EE}"/>
              </a:ext>
            </a:extLst>
          </p:cNvPr>
          <p:cNvSpPr>
            <a:spLocks noGrp="1"/>
          </p:cNvSpPr>
          <p:nvPr>
            <p:ph type="body" sz="quarter" idx="10" hasCustomPrompt="1"/>
          </p:nvPr>
        </p:nvSpPr>
        <p:spPr>
          <a:xfrm>
            <a:off x="431999" y="576000"/>
            <a:ext cx="6804000" cy="346813"/>
          </a:xfrm>
          <a:prstGeom prst="rect">
            <a:avLst/>
          </a:prstGeom>
        </p:spPr>
        <p:txBody>
          <a:bodyPr tIns="36000" bIns="36000" anchor="t" anchorCtr="0"/>
          <a:lstStyle>
            <a:lvl1pPr>
              <a:defRPr lang="en-AU" sz="1800" b="0" kern="1200" spc="0" noProof="0" dirty="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vl5pPr>
              <a:defRPr/>
            </a:lvl5pPr>
          </a:lstStyle>
          <a:p>
            <a:pPr marL="0" lvl="0" indent="0" algn="l" defTabSz="995230" rtl="0" eaLnBrk="1" latinLnBrk="0" hangingPunct="1">
              <a:spcBef>
                <a:spcPts val="1306"/>
              </a:spcBef>
              <a:buFont typeface="Arial" pitchFamily="34" charset="0"/>
              <a:buNone/>
            </a:pPr>
            <a:r>
              <a:rPr lang="en-AU" noProof="0"/>
              <a:t>Governing thought</a:t>
            </a:r>
          </a:p>
        </p:txBody>
      </p:sp>
      <p:sp>
        <p:nvSpPr>
          <p:cNvPr id="9" name="Content Placeholder 5">
            <a:extLst>
              <a:ext uri="{FF2B5EF4-FFF2-40B4-BE49-F238E27FC236}">
                <a16:creationId xmlns:a16="http://schemas.microsoft.com/office/drawing/2014/main" id="{25C1BFA1-97CE-91E9-0652-B277ED1095CA}"/>
              </a:ext>
            </a:extLst>
          </p:cNvPr>
          <p:cNvSpPr>
            <a:spLocks noGrp="1"/>
          </p:cNvSpPr>
          <p:nvPr>
            <p:ph sz="quarter" idx="14"/>
          </p:nvPr>
        </p:nvSpPr>
        <p:spPr>
          <a:xfrm>
            <a:off x="431999" y="1116000"/>
            <a:ext cx="6804000" cy="5760000"/>
          </a:xfrm>
        </p:spPr>
        <p:txBody>
          <a:bodyPr/>
          <a:lstStyle>
            <a:lvl1pPr>
              <a:spcBef>
                <a:spcPts val="0"/>
              </a:spcBef>
              <a:spcAft>
                <a:spcPts val="900"/>
              </a:spcAft>
              <a:defRPr sz="1050">
                <a:solidFill>
                  <a:schemeClr val="tx1"/>
                </a:solidFill>
              </a:defRPr>
            </a:lvl1pPr>
            <a:lvl2pPr>
              <a:spcBef>
                <a:spcPts val="0"/>
              </a:spcBef>
              <a:spcAft>
                <a:spcPts val="900"/>
              </a:spcAft>
              <a:defRPr sz="1050">
                <a:solidFill>
                  <a:schemeClr val="tx1"/>
                </a:solidFill>
              </a:defRPr>
            </a:lvl2pPr>
            <a:lvl3pPr>
              <a:spcBef>
                <a:spcPts val="0"/>
              </a:spcBef>
              <a:spcAft>
                <a:spcPts val="900"/>
              </a:spcAft>
              <a:defRPr sz="1050">
                <a:solidFill>
                  <a:schemeClr val="tx1"/>
                </a:solidFill>
              </a:defRPr>
            </a:lvl3pPr>
            <a:lvl4pPr>
              <a:spcBef>
                <a:spcPts val="0"/>
              </a:spcBef>
              <a:spcAft>
                <a:spcPts val="900"/>
              </a:spcAft>
              <a:defRPr sz="1050">
                <a:solidFill>
                  <a:schemeClr val="tx1"/>
                </a:solidFill>
              </a:defRPr>
            </a:lvl4pPr>
            <a:lvl5pPr>
              <a:spcBef>
                <a:spcPts val="0"/>
              </a:spcBef>
              <a:spcAft>
                <a:spcPts val="900"/>
              </a:spcAft>
              <a:defRPr sz="105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0" name="Text Placeholder 2">
            <a:extLst>
              <a:ext uri="{FF2B5EF4-FFF2-40B4-BE49-F238E27FC236}">
                <a16:creationId xmlns:a16="http://schemas.microsoft.com/office/drawing/2014/main" id="{4A033827-4611-4864-E527-8B5394DAA7E5}"/>
              </a:ext>
            </a:extLst>
          </p:cNvPr>
          <p:cNvSpPr>
            <a:spLocks noGrp="1"/>
          </p:cNvSpPr>
          <p:nvPr>
            <p:ph type="body" sz="quarter" idx="32" hasCustomPrompt="1"/>
          </p:nvPr>
        </p:nvSpPr>
        <p:spPr>
          <a:xfrm>
            <a:off x="432000" y="6984000"/>
            <a:ext cx="6804000" cy="316600"/>
          </a:xfrm>
        </p:spPr>
        <p:txBody>
          <a:bodyPr anchor="ctr"/>
          <a:lstStyle>
            <a:lvl1pPr>
              <a:defRPr sz="950">
                <a:solidFill>
                  <a:schemeClr val="bg2"/>
                </a:solidFill>
              </a:defRPr>
            </a:lvl1pPr>
          </a:lstStyle>
          <a:p>
            <a:pPr lvl="0"/>
            <a:r>
              <a:rPr lang="en-AU" noProof="0"/>
              <a:t>Source</a:t>
            </a:r>
          </a:p>
        </p:txBody>
      </p:sp>
    </p:spTree>
    <p:extLst>
      <p:ext uri="{BB962C8B-B14F-4D97-AF65-F5344CB8AC3E}">
        <p14:creationId xmlns:p14="http://schemas.microsoft.com/office/powerpoint/2010/main" val="35307301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960402-3C59-568B-8720-CD2471B44F32}"/>
              </a:ext>
            </a:extLst>
          </p:cNvPr>
          <p:cNvGraphicFramePr>
            <a:graphicFrameLocks noChangeAspect="1"/>
          </p:cNvGraphicFramePr>
          <p:nvPr userDrawn="1">
            <p:custDataLst>
              <p:tags r:id="rId1"/>
            </p:custDataLst>
            <p:extLst>
              <p:ext uri="{D42A27DB-BD31-4B8C-83A1-F6EECF244321}">
                <p14:modId xmlns:p14="http://schemas.microsoft.com/office/powerpoint/2010/main" val="374593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75960402-3C59-568B-8720-CD2471B44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D0CFCC75-1729-47B7-E82A-B8C06B0FADB8}"/>
              </a:ext>
            </a:extLst>
          </p:cNvPr>
          <p:cNvSpPr/>
          <p:nvPr userDrawn="1"/>
        </p:nvSpPr>
        <p:spPr>
          <a:xfrm>
            <a:off x="0" y="0"/>
            <a:ext cx="3045600" cy="75596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Content Placeholder 3">
            <a:extLst>
              <a:ext uri="{FF2B5EF4-FFF2-40B4-BE49-F238E27FC236}">
                <a16:creationId xmlns:a16="http://schemas.microsoft.com/office/drawing/2014/main" id="{6D3F0F61-15F2-0969-D6EB-394D6A6F5E0B}"/>
              </a:ext>
            </a:extLst>
          </p:cNvPr>
          <p:cNvSpPr>
            <a:spLocks noGrp="1"/>
          </p:cNvSpPr>
          <p:nvPr>
            <p:ph sz="quarter" idx="33"/>
          </p:nvPr>
        </p:nvSpPr>
        <p:spPr>
          <a:xfrm>
            <a:off x="432000" y="648000"/>
            <a:ext cx="2195814" cy="6480000"/>
          </a:xfrm>
          <a:prstGeom prst="rect">
            <a:avLst/>
          </a:prstGeom>
        </p:spPr>
        <p:txBody>
          <a:bodyPr/>
          <a:lstStyle>
            <a:lvl1pPr rtl="0">
              <a:spcBef>
                <a:spcPts val="0"/>
              </a:spcBef>
              <a:spcAft>
                <a:spcPts val="900"/>
              </a:spcAft>
              <a:defRPr sz="1050">
                <a:solidFill>
                  <a:schemeClr val="bg2"/>
                </a:solidFill>
              </a:defRPr>
            </a:lvl1pPr>
            <a:lvl2pPr rtl="0">
              <a:spcBef>
                <a:spcPts val="0"/>
              </a:spcBef>
              <a:spcAft>
                <a:spcPts val="900"/>
              </a:spcAft>
              <a:buClrTx/>
              <a:defRPr sz="1050">
                <a:solidFill>
                  <a:schemeClr val="bg2"/>
                </a:solidFill>
              </a:defRPr>
            </a:lvl2pPr>
            <a:lvl3pPr rtl="0">
              <a:spcBef>
                <a:spcPts val="0"/>
              </a:spcBef>
              <a:spcAft>
                <a:spcPts val="900"/>
              </a:spcAft>
              <a:buClrTx/>
              <a:defRPr sz="1050">
                <a:solidFill>
                  <a:schemeClr val="bg2"/>
                </a:solidFill>
              </a:defRPr>
            </a:lvl3pPr>
            <a:lvl4pPr rtl="0">
              <a:spcBef>
                <a:spcPts val="0"/>
              </a:spcBef>
              <a:spcAft>
                <a:spcPts val="900"/>
              </a:spcAft>
              <a:buClrTx/>
              <a:defRPr sz="1050">
                <a:solidFill>
                  <a:schemeClr val="bg2"/>
                </a:solidFill>
              </a:defRPr>
            </a:lvl4pPr>
            <a:lvl5pPr rtl="0">
              <a:spcBef>
                <a:spcPts val="0"/>
              </a:spcBef>
              <a:spcAft>
                <a:spcPts val="900"/>
              </a:spcAft>
              <a:buClrTx/>
              <a:defRPr sz="1050">
                <a:solidFill>
                  <a:schemeClr val="bg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8" name="Text Placeholder 10">
            <a:extLst>
              <a:ext uri="{FF2B5EF4-FFF2-40B4-BE49-F238E27FC236}">
                <a16:creationId xmlns:a16="http://schemas.microsoft.com/office/drawing/2014/main" id="{F7D74ED6-1453-4A2A-FDE7-0034D66EA1EE}"/>
              </a:ext>
            </a:extLst>
          </p:cNvPr>
          <p:cNvSpPr>
            <a:spLocks noGrp="1"/>
          </p:cNvSpPr>
          <p:nvPr>
            <p:ph type="body" sz="quarter" idx="10" hasCustomPrompt="1"/>
          </p:nvPr>
        </p:nvSpPr>
        <p:spPr>
          <a:xfrm>
            <a:off x="3455813" y="576000"/>
            <a:ext cx="6804000" cy="346813"/>
          </a:xfrm>
          <a:prstGeom prst="rect">
            <a:avLst/>
          </a:prstGeom>
        </p:spPr>
        <p:txBody>
          <a:bodyPr tIns="36000" bIns="36000" anchor="t" anchorCtr="0"/>
          <a:lstStyle>
            <a:lvl1pPr>
              <a:defRPr lang="en-AU" sz="1800" b="0" kern="1200" spc="0" noProof="0" dirty="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vl5pPr>
              <a:defRPr/>
            </a:lvl5pPr>
          </a:lstStyle>
          <a:p>
            <a:pPr marL="0" lvl="0" indent="0" algn="l" defTabSz="995230" rtl="0" eaLnBrk="1" latinLnBrk="0" hangingPunct="1">
              <a:spcBef>
                <a:spcPts val="1306"/>
              </a:spcBef>
              <a:buFont typeface="Arial" pitchFamily="34" charset="0"/>
              <a:buNone/>
            </a:pPr>
            <a:r>
              <a:rPr lang="en-AU" noProof="0"/>
              <a:t>Governing thought</a:t>
            </a:r>
          </a:p>
        </p:txBody>
      </p:sp>
      <p:sp>
        <p:nvSpPr>
          <p:cNvPr id="9" name="Content Placeholder 5">
            <a:extLst>
              <a:ext uri="{FF2B5EF4-FFF2-40B4-BE49-F238E27FC236}">
                <a16:creationId xmlns:a16="http://schemas.microsoft.com/office/drawing/2014/main" id="{25C1BFA1-97CE-91E9-0652-B277ED1095CA}"/>
              </a:ext>
            </a:extLst>
          </p:cNvPr>
          <p:cNvSpPr>
            <a:spLocks noGrp="1"/>
          </p:cNvSpPr>
          <p:nvPr>
            <p:ph sz="quarter" idx="14"/>
          </p:nvPr>
        </p:nvSpPr>
        <p:spPr>
          <a:xfrm>
            <a:off x="3455813" y="1116000"/>
            <a:ext cx="6804000" cy="5760000"/>
          </a:xfrm>
        </p:spPr>
        <p:txBody>
          <a:bodyPr/>
          <a:lstStyle>
            <a:lvl1pPr>
              <a:spcBef>
                <a:spcPts val="0"/>
              </a:spcBef>
              <a:spcAft>
                <a:spcPts val="900"/>
              </a:spcAft>
              <a:defRPr sz="1050">
                <a:solidFill>
                  <a:schemeClr val="tx1"/>
                </a:solidFill>
              </a:defRPr>
            </a:lvl1pPr>
            <a:lvl2pPr>
              <a:spcBef>
                <a:spcPts val="0"/>
              </a:spcBef>
              <a:spcAft>
                <a:spcPts val="900"/>
              </a:spcAft>
              <a:defRPr sz="1050">
                <a:solidFill>
                  <a:schemeClr val="tx1"/>
                </a:solidFill>
              </a:defRPr>
            </a:lvl2pPr>
            <a:lvl3pPr>
              <a:spcBef>
                <a:spcPts val="0"/>
              </a:spcBef>
              <a:spcAft>
                <a:spcPts val="900"/>
              </a:spcAft>
              <a:defRPr sz="1050">
                <a:solidFill>
                  <a:schemeClr val="tx1"/>
                </a:solidFill>
              </a:defRPr>
            </a:lvl3pPr>
            <a:lvl4pPr>
              <a:spcBef>
                <a:spcPts val="0"/>
              </a:spcBef>
              <a:spcAft>
                <a:spcPts val="900"/>
              </a:spcAft>
              <a:defRPr sz="1050">
                <a:solidFill>
                  <a:schemeClr val="tx1"/>
                </a:solidFill>
              </a:defRPr>
            </a:lvl4pPr>
            <a:lvl5pPr>
              <a:spcBef>
                <a:spcPts val="0"/>
              </a:spcBef>
              <a:spcAft>
                <a:spcPts val="900"/>
              </a:spcAft>
              <a:defRPr sz="105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0" name="Text Placeholder 2">
            <a:extLst>
              <a:ext uri="{FF2B5EF4-FFF2-40B4-BE49-F238E27FC236}">
                <a16:creationId xmlns:a16="http://schemas.microsoft.com/office/drawing/2014/main" id="{4A033827-4611-4864-E527-8B5394DAA7E5}"/>
              </a:ext>
            </a:extLst>
          </p:cNvPr>
          <p:cNvSpPr>
            <a:spLocks noGrp="1"/>
          </p:cNvSpPr>
          <p:nvPr>
            <p:ph type="body" sz="quarter" idx="32" hasCustomPrompt="1"/>
          </p:nvPr>
        </p:nvSpPr>
        <p:spPr>
          <a:xfrm>
            <a:off x="3455813" y="6984000"/>
            <a:ext cx="6804000" cy="316600"/>
          </a:xfrm>
        </p:spPr>
        <p:txBody>
          <a:bodyPr anchor="ctr"/>
          <a:lstStyle>
            <a:lvl1pPr>
              <a:defRPr sz="950">
                <a:solidFill>
                  <a:schemeClr val="bg2"/>
                </a:solidFill>
              </a:defRPr>
            </a:lvl1pPr>
          </a:lstStyle>
          <a:p>
            <a:pPr lvl="0"/>
            <a:r>
              <a:rPr lang="en-AU" noProof="0"/>
              <a:t>Source</a:t>
            </a:r>
          </a:p>
        </p:txBody>
      </p:sp>
    </p:spTree>
    <p:extLst>
      <p:ext uri="{BB962C8B-B14F-4D97-AF65-F5344CB8AC3E}">
        <p14:creationId xmlns:p14="http://schemas.microsoft.com/office/powerpoint/2010/main" val="40077899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960402-3C59-568B-8720-CD2471B44F32}"/>
              </a:ext>
            </a:extLst>
          </p:cNvPr>
          <p:cNvGraphicFramePr>
            <a:graphicFrameLocks noChangeAspect="1"/>
          </p:cNvGraphicFramePr>
          <p:nvPr userDrawn="1">
            <p:custDataLst>
              <p:tags r:id="rId1"/>
            </p:custDataLst>
            <p:extLst>
              <p:ext uri="{D42A27DB-BD31-4B8C-83A1-F6EECF244321}">
                <p14:modId xmlns:p14="http://schemas.microsoft.com/office/powerpoint/2010/main" val="374593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75960402-3C59-568B-8720-CD2471B44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4196054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5960402-3C59-568B-8720-CD2471B44F32}"/>
              </a:ext>
            </a:extLst>
          </p:cNvPr>
          <p:cNvGraphicFramePr>
            <a:graphicFrameLocks noChangeAspect="1"/>
          </p:cNvGraphicFramePr>
          <p:nvPr userDrawn="1">
            <p:custDataLst>
              <p:tags r:id="rId1"/>
            </p:custDataLst>
            <p:extLst>
              <p:ext uri="{D42A27DB-BD31-4B8C-83A1-F6EECF244321}">
                <p14:modId xmlns:p14="http://schemas.microsoft.com/office/powerpoint/2010/main" val="374593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7" imgH="327" progId="TCLayout.ActiveDocument.1">
                  <p:embed/>
                </p:oleObj>
              </mc:Choice>
              <mc:Fallback>
                <p:oleObj name="think-cell Slide" r:id="rId3" imgW="327" imgH="327" progId="TCLayout.ActiveDocument.1">
                  <p:embed/>
                  <p:pic>
                    <p:nvPicPr>
                      <p:cNvPr id="2" name="Object 1" hidden="1">
                        <a:extLst>
                          <a:ext uri="{FF2B5EF4-FFF2-40B4-BE49-F238E27FC236}">
                            <a16:creationId xmlns:a16="http://schemas.microsoft.com/office/drawing/2014/main" id="{75960402-3C59-568B-8720-CD2471B44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10">
            <a:extLst>
              <a:ext uri="{FF2B5EF4-FFF2-40B4-BE49-F238E27FC236}">
                <a16:creationId xmlns:a16="http://schemas.microsoft.com/office/drawing/2014/main" id="{4D81A660-2265-E753-8A43-6E70100B8D69}"/>
              </a:ext>
            </a:extLst>
          </p:cNvPr>
          <p:cNvSpPr>
            <a:spLocks noGrp="1"/>
          </p:cNvSpPr>
          <p:nvPr>
            <p:ph type="body" sz="quarter" idx="10" hasCustomPrompt="1"/>
          </p:nvPr>
        </p:nvSpPr>
        <p:spPr>
          <a:xfrm>
            <a:off x="431998" y="576000"/>
            <a:ext cx="4680000" cy="346813"/>
          </a:xfrm>
          <a:prstGeom prst="rect">
            <a:avLst/>
          </a:prstGeom>
        </p:spPr>
        <p:txBody>
          <a:bodyPr tIns="36000" bIns="36000" anchor="t" anchorCtr="0"/>
          <a:lstStyle>
            <a:lvl1pPr>
              <a:defRPr lang="en-AU" sz="1800" b="0" kern="1200" spc="0" noProof="0" dirty="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vl5pPr>
              <a:defRPr/>
            </a:lvl5pPr>
          </a:lstStyle>
          <a:p>
            <a:pPr marL="0" lvl="0" indent="0" algn="l" defTabSz="995230" rtl="0" eaLnBrk="1" latinLnBrk="0" hangingPunct="1">
              <a:spcBef>
                <a:spcPts val="1306"/>
              </a:spcBef>
              <a:buFont typeface="Arial" pitchFamily="34" charset="0"/>
              <a:buNone/>
            </a:pPr>
            <a:r>
              <a:rPr lang="en-AU" noProof="0"/>
              <a:t>Governing thought</a:t>
            </a:r>
          </a:p>
        </p:txBody>
      </p:sp>
      <p:sp>
        <p:nvSpPr>
          <p:cNvPr id="4" name="Content Placeholder 5">
            <a:extLst>
              <a:ext uri="{FF2B5EF4-FFF2-40B4-BE49-F238E27FC236}">
                <a16:creationId xmlns:a16="http://schemas.microsoft.com/office/drawing/2014/main" id="{52D225E2-349E-B347-7A70-DCCF17DC3A1E}"/>
              </a:ext>
            </a:extLst>
          </p:cNvPr>
          <p:cNvSpPr>
            <a:spLocks noGrp="1"/>
          </p:cNvSpPr>
          <p:nvPr>
            <p:ph sz="quarter" idx="14"/>
          </p:nvPr>
        </p:nvSpPr>
        <p:spPr>
          <a:xfrm>
            <a:off x="431998" y="1116000"/>
            <a:ext cx="4680000" cy="5760000"/>
          </a:xfrm>
        </p:spPr>
        <p:txBody>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5" name="Text Placeholder 2">
            <a:extLst>
              <a:ext uri="{FF2B5EF4-FFF2-40B4-BE49-F238E27FC236}">
                <a16:creationId xmlns:a16="http://schemas.microsoft.com/office/drawing/2014/main" id="{8B1B91C7-EE1A-881D-7605-AEE2C0F90CE2}"/>
              </a:ext>
            </a:extLst>
          </p:cNvPr>
          <p:cNvSpPr>
            <a:spLocks noGrp="1"/>
          </p:cNvSpPr>
          <p:nvPr>
            <p:ph type="body" sz="quarter" idx="32" hasCustomPrompt="1"/>
          </p:nvPr>
        </p:nvSpPr>
        <p:spPr>
          <a:xfrm>
            <a:off x="431999" y="6984000"/>
            <a:ext cx="4680000" cy="316600"/>
          </a:xfrm>
        </p:spPr>
        <p:txBody>
          <a:bodyPr anchor="ctr"/>
          <a:lstStyle>
            <a:lvl1pPr>
              <a:defRPr sz="950">
                <a:solidFill>
                  <a:schemeClr val="bg2"/>
                </a:solidFill>
              </a:defRPr>
            </a:lvl1pPr>
          </a:lstStyle>
          <a:p>
            <a:pPr lvl="0"/>
            <a:r>
              <a:rPr lang="en-AU" noProof="0"/>
              <a:t>Source</a:t>
            </a:r>
          </a:p>
        </p:txBody>
      </p:sp>
      <p:sp>
        <p:nvSpPr>
          <p:cNvPr id="11" name="Text Placeholder 10">
            <a:extLst>
              <a:ext uri="{FF2B5EF4-FFF2-40B4-BE49-F238E27FC236}">
                <a16:creationId xmlns:a16="http://schemas.microsoft.com/office/drawing/2014/main" id="{5F787248-CC91-AAB6-79F7-DE299976864A}"/>
              </a:ext>
            </a:extLst>
          </p:cNvPr>
          <p:cNvSpPr>
            <a:spLocks noGrp="1"/>
          </p:cNvSpPr>
          <p:nvPr>
            <p:ph type="body" sz="quarter" idx="33" hasCustomPrompt="1"/>
          </p:nvPr>
        </p:nvSpPr>
        <p:spPr>
          <a:xfrm>
            <a:off x="5580000" y="576000"/>
            <a:ext cx="4680000" cy="346813"/>
          </a:xfrm>
          <a:prstGeom prst="rect">
            <a:avLst/>
          </a:prstGeom>
        </p:spPr>
        <p:txBody>
          <a:bodyPr tIns="36000" bIns="36000" anchor="t" anchorCtr="0"/>
          <a:lstStyle>
            <a:lvl1pPr>
              <a:defRPr lang="en-AU" sz="1800" b="0" kern="1200" spc="0" noProof="0" dirty="0">
                <a:solidFill>
                  <a:schemeClr val="bg2"/>
                </a:solidFill>
                <a:latin typeface="Segoe UI Semibold" panose="020B0702040204020203" pitchFamily="34" charset="0"/>
                <a:ea typeface="Segoe UI Semibold" panose="020B0702040204020203" pitchFamily="34" charset="0"/>
                <a:cs typeface="Segoe UI Semibold" panose="020B0702040204020203" pitchFamily="34" charset="0"/>
              </a:defRPr>
            </a:lvl1pPr>
            <a:lvl5pPr>
              <a:defRPr/>
            </a:lvl5pPr>
          </a:lstStyle>
          <a:p>
            <a:pPr marL="0" lvl="0" indent="0" algn="l" defTabSz="995230" rtl="0" eaLnBrk="1" latinLnBrk="0" hangingPunct="1">
              <a:spcBef>
                <a:spcPts val="1306"/>
              </a:spcBef>
              <a:buFont typeface="Arial" pitchFamily="34" charset="0"/>
              <a:buNone/>
            </a:pPr>
            <a:r>
              <a:rPr lang="en-AU" noProof="0"/>
              <a:t>Governing thought</a:t>
            </a:r>
          </a:p>
        </p:txBody>
      </p:sp>
      <p:sp>
        <p:nvSpPr>
          <p:cNvPr id="12" name="Content Placeholder 5">
            <a:extLst>
              <a:ext uri="{FF2B5EF4-FFF2-40B4-BE49-F238E27FC236}">
                <a16:creationId xmlns:a16="http://schemas.microsoft.com/office/drawing/2014/main" id="{E060FAE0-401E-4901-3133-F47CF3BAA20A}"/>
              </a:ext>
            </a:extLst>
          </p:cNvPr>
          <p:cNvSpPr>
            <a:spLocks noGrp="1"/>
          </p:cNvSpPr>
          <p:nvPr>
            <p:ph sz="quarter" idx="34"/>
          </p:nvPr>
        </p:nvSpPr>
        <p:spPr>
          <a:xfrm>
            <a:off x="5580000" y="1116000"/>
            <a:ext cx="4680000" cy="5760000"/>
          </a:xfrm>
        </p:spPr>
        <p:txBody>
          <a:bodyPr/>
          <a:lstStyle>
            <a:lvl1pPr>
              <a:defRPr sz="1050">
                <a:solidFill>
                  <a:schemeClr val="tx1"/>
                </a:solidFill>
              </a:defRPr>
            </a:lvl1pPr>
            <a:lvl2pPr>
              <a:defRPr sz="1050">
                <a:solidFill>
                  <a:schemeClr val="tx1"/>
                </a:solidFill>
              </a:defRPr>
            </a:lvl2pPr>
            <a:lvl3pPr>
              <a:defRPr sz="1050">
                <a:solidFill>
                  <a:schemeClr val="tx1"/>
                </a:solidFill>
              </a:defRPr>
            </a:lvl3pPr>
            <a:lvl4pPr>
              <a:defRPr sz="1050">
                <a:solidFill>
                  <a:schemeClr val="tx1"/>
                </a:solidFill>
              </a:defRPr>
            </a:lvl4pPr>
            <a:lvl5pPr>
              <a:defRPr sz="105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ext Placeholder 2">
            <a:extLst>
              <a:ext uri="{FF2B5EF4-FFF2-40B4-BE49-F238E27FC236}">
                <a16:creationId xmlns:a16="http://schemas.microsoft.com/office/drawing/2014/main" id="{C7785BEB-BA03-392C-A8EF-C4E32FDD4D25}"/>
              </a:ext>
            </a:extLst>
          </p:cNvPr>
          <p:cNvSpPr>
            <a:spLocks noGrp="1"/>
          </p:cNvSpPr>
          <p:nvPr>
            <p:ph type="body" sz="quarter" idx="35" hasCustomPrompt="1"/>
          </p:nvPr>
        </p:nvSpPr>
        <p:spPr>
          <a:xfrm>
            <a:off x="5580000" y="6984000"/>
            <a:ext cx="4680000" cy="316600"/>
          </a:xfrm>
        </p:spPr>
        <p:txBody>
          <a:bodyPr anchor="ctr"/>
          <a:lstStyle>
            <a:lvl1pPr>
              <a:defRPr sz="950">
                <a:solidFill>
                  <a:schemeClr val="bg2"/>
                </a:solidFill>
              </a:defRPr>
            </a:lvl1pPr>
          </a:lstStyle>
          <a:p>
            <a:pPr lvl="0"/>
            <a:r>
              <a:rPr lang="en-AU" noProof="0"/>
              <a:t>Source</a:t>
            </a:r>
          </a:p>
        </p:txBody>
      </p:sp>
    </p:spTree>
    <p:extLst>
      <p:ext uri="{BB962C8B-B14F-4D97-AF65-F5344CB8AC3E}">
        <p14:creationId xmlns:p14="http://schemas.microsoft.com/office/powerpoint/2010/main" val="40521767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TextBox 2"/>
          <p:cNvSpPr txBox="1"/>
          <p:nvPr userDrawn="1"/>
        </p:nvSpPr>
        <p:spPr>
          <a:xfrm>
            <a:off x="9542797" y="7046395"/>
            <a:ext cx="854922" cy="169918"/>
          </a:xfrm>
          <a:prstGeom prst="rect">
            <a:avLst/>
          </a:prstGeom>
          <a:noFill/>
        </p:spPr>
        <p:txBody>
          <a:bodyPr wrap="square" rtlCol="0">
            <a:spAutoFit/>
          </a:bodyPr>
          <a:lstStyle/>
          <a:p>
            <a:pPr algn="r"/>
            <a:fld id="{6E8856DA-B77A-4A94-8E84-45BF77D9376B}" type="slidenum">
              <a:rPr lang="en-AU" sz="504" noProof="0" smtClean="0">
                <a:solidFill>
                  <a:schemeClr val="accent3"/>
                </a:solidFill>
                <a:latin typeface="Segoe UI" panose="020B0502040204020203" pitchFamily="34" charset="0"/>
                <a:ea typeface="Segoe UI" panose="020B0502040204020203" pitchFamily="34" charset="0"/>
                <a:cs typeface="Segoe UI" panose="020B0502040204020203" pitchFamily="34" charset="0"/>
              </a:rPr>
              <a:pPr algn="r"/>
              <a:t>‹#›</a:t>
            </a:fld>
            <a:endParaRPr lang="en-AU" sz="504" noProof="0" dirty="0">
              <a:solidFill>
                <a:schemeClr val="accent3"/>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395406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image">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A13DD76C-B0DF-5844-46E8-ACA7008494DC}"/>
              </a:ext>
            </a:extLst>
          </p:cNvPr>
          <p:cNvSpPr/>
          <p:nvPr userDrawn="1"/>
        </p:nvSpPr>
        <p:spPr>
          <a:xfrm>
            <a:off x="5418084" y="0"/>
            <a:ext cx="3039296" cy="3659583"/>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2263"/>
          </a:p>
        </p:txBody>
      </p:sp>
      <p:sp>
        <p:nvSpPr>
          <p:cNvPr id="38" name="Free-form: Shape 37">
            <a:extLst>
              <a:ext uri="{FF2B5EF4-FFF2-40B4-BE49-F238E27FC236}">
                <a16:creationId xmlns:a16="http://schemas.microsoft.com/office/drawing/2014/main" id="{2DCABD5A-B67F-F174-BA18-01F969DC1B68}"/>
              </a:ext>
            </a:extLst>
          </p:cNvPr>
          <p:cNvSpPr/>
          <p:nvPr/>
        </p:nvSpPr>
        <p:spPr>
          <a:xfrm>
            <a:off x="4814261" y="2462353"/>
            <a:ext cx="5877551" cy="4400883"/>
          </a:xfrm>
          <a:custGeom>
            <a:avLst/>
            <a:gdLst>
              <a:gd name="connsiteX0" fmla="*/ 0 w 5026680"/>
              <a:gd name="connsiteY0" fmla="*/ 0 h 3992401"/>
              <a:gd name="connsiteX1" fmla="*/ 5026680 w 5026680"/>
              <a:gd name="connsiteY1" fmla="*/ 0 h 3992401"/>
              <a:gd name="connsiteX2" fmla="*/ 5026680 w 5026680"/>
              <a:gd name="connsiteY2" fmla="*/ 3992401 h 3992401"/>
              <a:gd name="connsiteX3" fmla="*/ 2920561 w 5026680"/>
              <a:gd name="connsiteY3" fmla="*/ 3992401 h 3992401"/>
              <a:gd name="connsiteX4" fmla="*/ 1025695 w 5026680"/>
              <a:gd name="connsiteY4" fmla="*/ 10950 h 3992401"/>
              <a:gd name="connsiteX5" fmla="*/ 4897 w 5026680"/>
              <a:gd name="connsiteY5" fmla="*/ 10820 h 3992401"/>
              <a:gd name="connsiteX6" fmla="*/ 0 w 5026680"/>
              <a:gd name="connsiteY6" fmla="*/ 0 h 399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26680" h="3992401">
                <a:moveTo>
                  <a:pt x="0" y="0"/>
                </a:moveTo>
                <a:lnTo>
                  <a:pt x="5026680" y="0"/>
                </a:lnTo>
                <a:lnTo>
                  <a:pt x="5026680" y="3992401"/>
                </a:lnTo>
                <a:lnTo>
                  <a:pt x="2920561" y="3992401"/>
                </a:lnTo>
                <a:lnTo>
                  <a:pt x="1025695" y="10950"/>
                </a:lnTo>
                <a:lnTo>
                  <a:pt x="4897" y="10820"/>
                </a:lnTo>
                <a:lnTo>
                  <a:pt x="0" y="0"/>
                </a:lnTo>
                <a:close/>
              </a:path>
            </a:pathLst>
          </a:custGeom>
          <a:solidFill>
            <a:schemeClr val="bg2"/>
          </a:solidFill>
          <a:ln w="4757" cap="flat">
            <a:noFill/>
            <a:prstDash val="solid"/>
            <a:miter/>
          </a:ln>
        </p:spPr>
        <p:txBody>
          <a:bodyPr rtlCol="0" anchor="ctr"/>
          <a:lstStyle/>
          <a:p>
            <a:endParaRPr lang="en-AU" sz="2263"/>
          </a:p>
        </p:txBody>
      </p:sp>
      <p:sp>
        <p:nvSpPr>
          <p:cNvPr id="40" name="Picture Placeholder 39">
            <a:extLst>
              <a:ext uri="{FF2B5EF4-FFF2-40B4-BE49-F238E27FC236}">
                <a16:creationId xmlns:a16="http://schemas.microsoft.com/office/drawing/2014/main" id="{5B925039-3386-9DB3-1F58-4C26FF278362}"/>
              </a:ext>
            </a:extLst>
          </p:cNvPr>
          <p:cNvSpPr>
            <a:spLocks noGrp="1" noChangeAspect="1"/>
          </p:cNvSpPr>
          <p:nvPr>
            <p:ph type="pic" sz="quarter" idx="14" hasCustomPrompt="1"/>
          </p:nvPr>
        </p:nvSpPr>
        <p:spPr>
          <a:xfrm>
            <a:off x="2" y="2462353"/>
            <a:ext cx="8234781" cy="4400617"/>
          </a:xfrm>
          <a:custGeom>
            <a:avLst/>
            <a:gdLst>
              <a:gd name="connsiteX0" fmla="*/ 0 w 7042663"/>
              <a:gd name="connsiteY0" fmla="*/ 0 h 3992160"/>
              <a:gd name="connsiteX1" fmla="*/ 5143014 w 7042663"/>
              <a:gd name="connsiteY1" fmla="*/ 658 h 3992160"/>
              <a:gd name="connsiteX2" fmla="*/ 7042663 w 7042663"/>
              <a:gd name="connsiteY2" fmla="*/ 3992160 h 3992160"/>
              <a:gd name="connsiteX3" fmla="*/ 0 w 7042663"/>
              <a:gd name="connsiteY3" fmla="*/ 3992160 h 3992160"/>
            </a:gdLst>
            <a:ahLst/>
            <a:cxnLst>
              <a:cxn ang="0">
                <a:pos x="connsiteX0" y="connsiteY0"/>
              </a:cxn>
              <a:cxn ang="0">
                <a:pos x="connsiteX1" y="connsiteY1"/>
              </a:cxn>
              <a:cxn ang="0">
                <a:pos x="connsiteX2" y="connsiteY2"/>
              </a:cxn>
              <a:cxn ang="0">
                <a:pos x="connsiteX3" y="connsiteY3"/>
              </a:cxn>
            </a:cxnLst>
            <a:rect l="l" t="t" r="r" b="b"/>
            <a:pathLst>
              <a:path w="7042663" h="3992160">
                <a:moveTo>
                  <a:pt x="0" y="0"/>
                </a:moveTo>
                <a:lnTo>
                  <a:pt x="5143014" y="658"/>
                </a:lnTo>
                <a:lnTo>
                  <a:pt x="7042663" y="3992160"/>
                </a:lnTo>
                <a:lnTo>
                  <a:pt x="0" y="3992160"/>
                </a:lnTo>
                <a:close/>
              </a:path>
            </a:pathLst>
          </a:custGeom>
          <a:solidFill>
            <a:schemeClr val="bg1">
              <a:lumMod val="75000"/>
            </a:schemeClr>
          </a:solidFill>
        </p:spPr>
        <p:txBody>
          <a:bodyPr wrap="square" lIns="504000" tIns="288000" rIns="3600000" bIns="360000" anchor="t" anchorCtr="0">
            <a:noAutofit/>
          </a:bodyPr>
          <a:lstStyle>
            <a:lvl1pPr algn="l">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568002" y="614693"/>
            <a:ext cx="5366953" cy="1587333"/>
          </a:xfrm>
        </p:spPr>
        <p:txBody>
          <a:bodyPr/>
          <a:lstStyle>
            <a:lvl1pPr marL="0" indent="0" algn="l">
              <a:buNone/>
              <a:defRPr sz="3417" b="0">
                <a:solidFill>
                  <a:schemeClr val="accent6"/>
                </a:solidFill>
              </a:defRPr>
            </a:lvl1pPr>
            <a:lvl2pPr marL="0" indent="0" algn="l">
              <a:buNone/>
              <a:defRPr sz="2535" b="0">
                <a:solidFill>
                  <a:schemeClr val="accent6"/>
                </a:solidFill>
              </a:defRPr>
            </a:lvl2pPr>
            <a:lvl3pPr marL="0" indent="0" algn="l">
              <a:buNone/>
              <a:defRPr sz="2535" b="0">
                <a:solidFill>
                  <a:schemeClr val="accent6"/>
                </a:solidFill>
              </a:defRPr>
            </a:lvl3pPr>
            <a:lvl4pPr marL="0" indent="0" algn="l">
              <a:buNone/>
              <a:defRPr sz="2535" b="0">
                <a:solidFill>
                  <a:schemeClr val="accent6"/>
                </a:solidFill>
              </a:defRPr>
            </a:lvl4pPr>
            <a:lvl5pPr marL="0" indent="0" algn="l">
              <a:buNone/>
              <a:defRPr sz="2535" b="0">
                <a:solidFill>
                  <a:schemeClr val="accent6"/>
                </a:solidFill>
              </a:defRPr>
            </a:lvl5pPr>
            <a:lvl6pPr marL="0" indent="0" algn="l">
              <a:buNone/>
              <a:defRPr sz="2535" b="0">
                <a:solidFill>
                  <a:schemeClr val="accent6"/>
                </a:solidFill>
              </a:defRPr>
            </a:lvl6pPr>
            <a:lvl7pPr marL="0" indent="0" algn="l">
              <a:buNone/>
              <a:defRPr sz="2535" b="0">
                <a:solidFill>
                  <a:schemeClr val="accent6"/>
                </a:solidFill>
              </a:defRPr>
            </a:lvl7pPr>
            <a:lvl8pPr marL="0" indent="0" algn="l">
              <a:buNone/>
              <a:defRPr sz="2535" b="0">
                <a:solidFill>
                  <a:schemeClr val="accent6"/>
                </a:solidFill>
              </a:defRPr>
            </a:lvl8pPr>
            <a:lvl9pPr marL="0" indent="0" algn="l">
              <a:buNone/>
              <a:defRPr sz="2535" b="0">
                <a:solidFill>
                  <a:schemeClr val="accent6"/>
                </a:solidFill>
              </a:defRPr>
            </a:lvl9pPr>
          </a:lstStyle>
          <a:p>
            <a:r>
              <a:rPr lang="en-AU" dirty="0"/>
              <a:t>Title heading-first level</a:t>
            </a:r>
            <a:endParaRPr lang="en-GB" dirty="0"/>
          </a:p>
          <a:p>
            <a:pPr lvl="1"/>
            <a:r>
              <a:rPr lang="en-US" dirty="0"/>
              <a:t>Subheading-second level</a:t>
            </a:r>
            <a:endParaRPr lang="en-GB" dirty="0"/>
          </a:p>
        </p:txBody>
      </p:sp>
      <p:cxnSp>
        <p:nvCxnSpPr>
          <p:cNvPr id="2" name="Straight Connector 1">
            <a:extLst>
              <a:ext uri="{FF2B5EF4-FFF2-40B4-BE49-F238E27FC236}">
                <a16:creationId xmlns:a16="http://schemas.microsoft.com/office/drawing/2014/main" id="{28BBBDA6-519A-05D0-4F6B-24B47AD172E0}"/>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Free-form: Shape 14">
            <a:extLst>
              <a:ext uri="{FF2B5EF4-FFF2-40B4-BE49-F238E27FC236}">
                <a16:creationId xmlns:a16="http://schemas.microsoft.com/office/drawing/2014/main" id="{8CF85D78-FC0B-F4EA-1EF4-C857106FD948}"/>
              </a:ext>
            </a:extLst>
          </p:cNvPr>
          <p:cNvSpPr/>
          <p:nvPr userDrawn="1"/>
        </p:nvSpPr>
        <p:spPr>
          <a:xfrm>
            <a:off x="6350202" y="6861384"/>
            <a:ext cx="1877156" cy="698290"/>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2263"/>
          </a:p>
        </p:txBody>
      </p:sp>
      <p:pic>
        <p:nvPicPr>
          <p:cNvPr id="16" name="Graphic 15">
            <a:extLst>
              <a:ext uri="{FF2B5EF4-FFF2-40B4-BE49-F238E27FC236}">
                <a16:creationId xmlns:a16="http://schemas.microsoft.com/office/drawing/2014/main" id="{EF67C86E-C469-E935-8F6B-B956C4B551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07087" y="997347"/>
            <a:ext cx="1961508" cy="567943"/>
          </a:xfrm>
          <a:prstGeom prst="rect">
            <a:avLst/>
          </a:prstGeom>
        </p:spPr>
      </p:pic>
      <p:sp>
        <p:nvSpPr>
          <p:cNvPr id="17" name="Text Placeholder 16">
            <a:extLst>
              <a:ext uri="{FF2B5EF4-FFF2-40B4-BE49-F238E27FC236}">
                <a16:creationId xmlns:a16="http://schemas.microsoft.com/office/drawing/2014/main" id="{FD4EB4A5-D3CA-B552-1419-ADCF6DC9E32A}"/>
              </a:ext>
            </a:extLst>
          </p:cNvPr>
          <p:cNvSpPr>
            <a:spLocks noGrp="1" noChangeAspect="1"/>
          </p:cNvSpPr>
          <p:nvPr>
            <p:ph type="body" sz="quarter" idx="25"/>
          </p:nvPr>
        </p:nvSpPr>
        <p:spPr>
          <a:xfrm>
            <a:off x="6700954" y="5338110"/>
            <a:ext cx="1526405" cy="1523275"/>
          </a:xfrm>
          <a:custGeom>
            <a:avLst/>
            <a:gdLst>
              <a:gd name="connsiteX0" fmla="*/ 655955 w 1305433"/>
              <a:gd name="connsiteY0" fmla="*/ 0 h 1381887"/>
              <a:gd name="connsiteX1" fmla="*/ 1305433 w 1305433"/>
              <a:gd name="connsiteY1" fmla="*/ 1381887 h 1381887"/>
              <a:gd name="connsiteX2" fmla="*/ 0 w 1305433"/>
              <a:gd name="connsiteY2" fmla="*/ 1381887 h 1381887"/>
            </a:gdLst>
            <a:ahLst/>
            <a:cxnLst>
              <a:cxn ang="0">
                <a:pos x="connsiteX0" y="connsiteY0"/>
              </a:cxn>
              <a:cxn ang="0">
                <a:pos x="connsiteX1" y="connsiteY1"/>
              </a:cxn>
              <a:cxn ang="0">
                <a:pos x="connsiteX2" y="connsiteY2"/>
              </a:cxn>
            </a:cxnLst>
            <a:rect l="l" t="t" r="r" b="b"/>
            <a:pathLst>
              <a:path w="1305433" h="1381887">
                <a:moveTo>
                  <a:pt x="655955" y="0"/>
                </a:moveTo>
                <a:lnTo>
                  <a:pt x="1305433" y="1381887"/>
                </a:lnTo>
                <a:lnTo>
                  <a:pt x="0" y="1381887"/>
                </a:lnTo>
                <a:close/>
              </a:path>
            </a:pathLst>
          </a:custGeom>
          <a:solidFill>
            <a:schemeClr val="tx2">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8" name="Text Placeholder 2">
            <a:extLst>
              <a:ext uri="{FF2B5EF4-FFF2-40B4-BE49-F238E27FC236}">
                <a16:creationId xmlns:a16="http://schemas.microsoft.com/office/drawing/2014/main" id="{B6351E1D-0587-2E7B-55B8-06B2E8737F98}"/>
              </a:ext>
            </a:extLst>
          </p:cNvPr>
          <p:cNvSpPr>
            <a:spLocks noGrp="1" noChangeAspect="1"/>
          </p:cNvSpPr>
          <p:nvPr>
            <p:ph type="body" sz="quarter" idx="22"/>
          </p:nvPr>
        </p:nvSpPr>
        <p:spPr>
          <a:xfrm>
            <a:off x="7467943" y="5338109"/>
            <a:ext cx="1526544" cy="1523840"/>
          </a:xfrm>
          <a:custGeom>
            <a:avLst/>
            <a:gdLst>
              <a:gd name="connsiteX0" fmla="*/ 0 w 2119820"/>
              <a:gd name="connsiteY0" fmla="*/ 0 h 2244597"/>
              <a:gd name="connsiteX1" fmla="*/ 2119757 w 2119820"/>
              <a:gd name="connsiteY1" fmla="*/ 0 h 2244597"/>
              <a:gd name="connsiteX2" fmla="*/ 2119820 w 2119820"/>
              <a:gd name="connsiteY2" fmla="*/ 135 h 2244597"/>
              <a:gd name="connsiteX3" fmla="*/ 1054953 w 2119820"/>
              <a:gd name="connsiteY3" fmla="*/ 2244597 h 2244597"/>
              <a:gd name="connsiteX4" fmla="*/ 1054925 w 2119820"/>
              <a:gd name="connsiteY4" fmla="*/ 2244597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820" h="2244597">
                <a:moveTo>
                  <a:pt x="0" y="0"/>
                </a:moveTo>
                <a:lnTo>
                  <a:pt x="2119757" y="0"/>
                </a:lnTo>
                <a:lnTo>
                  <a:pt x="2119820" y="135"/>
                </a:lnTo>
                <a:lnTo>
                  <a:pt x="1054953" y="2244597"/>
                </a:lnTo>
                <a:lnTo>
                  <a:pt x="1054925" y="2244597"/>
                </a:lnTo>
                <a:close/>
              </a:path>
            </a:pathLst>
          </a:custGeom>
          <a:solidFill>
            <a:schemeClr val="tx2">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0" name="Text Placeholder 19">
            <a:extLst>
              <a:ext uri="{FF2B5EF4-FFF2-40B4-BE49-F238E27FC236}">
                <a16:creationId xmlns:a16="http://schemas.microsoft.com/office/drawing/2014/main" id="{02C71BA1-4727-3A94-C697-2772234AF9F2}"/>
              </a:ext>
            </a:extLst>
          </p:cNvPr>
          <p:cNvSpPr>
            <a:spLocks noGrp="1"/>
          </p:cNvSpPr>
          <p:nvPr>
            <p:ph type="body" sz="quarter" idx="27"/>
          </p:nvPr>
        </p:nvSpPr>
        <p:spPr>
          <a:xfrm>
            <a:off x="4820679" y="2462353"/>
            <a:ext cx="1793997" cy="1197229"/>
          </a:xfrm>
          <a:custGeom>
            <a:avLst/>
            <a:gdLst>
              <a:gd name="connsiteX0" fmla="*/ 0 w 1534287"/>
              <a:gd name="connsiteY0" fmla="*/ 0 h 1086104"/>
              <a:gd name="connsiteX1" fmla="*/ 1023366 w 1534287"/>
              <a:gd name="connsiteY1" fmla="*/ 0 h 1086104"/>
              <a:gd name="connsiteX2" fmla="*/ 1534287 w 1534287"/>
              <a:gd name="connsiteY2" fmla="*/ 1086104 h 1086104"/>
              <a:gd name="connsiteX3" fmla="*/ 510921 w 1534287"/>
              <a:gd name="connsiteY3" fmla="*/ 1086104 h 1086104"/>
              <a:gd name="connsiteX4" fmla="*/ 0 w 1534287"/>
              <a:gd name="connsiteY4" fmla="*/ 0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0" y="0"/>
                </a:moveTo>
                <a:lnTo>
                  <a:pt x="1023366" y="0"/>
                </a:lnTo>
                <a:lnTo>
                  <a:pt x="1534287" y="1086104"/>
                </a:lnTo>
                <a:lnTo>
                  <a:pt x="510921" y="1086104"/>
                </a:lnTo>
                <a:cubicBezTo>
                  <a:pt x="510921" y="1086104"/>
                  <a:pt x="0" y="0"/>
                  <a:pt x="0" y="0"/>
                </a:cubicBezTo>
                <a:close/>
              </a:path>
            </a:pathLst>
          </a:custGeom>
          <a:solidFill>
            <a:schemeClr val="bg1">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1" name="Text Placeholder 24">
            <a:extLst>
              <a:ext uri="{FF2B5EF4-FFF2-40B4-BE49-F238E27FC236}">
                <a16:creationId xmlns:a16="http://schemas.microsoft.com/office/drawing/2014/main" id="{D8F58367-9BE9-C43F-398C-868E3E4B9FF4}"/>
              </a:ext>
            </a:extLst>
          </p:cNvPr>
          <p:cNvSpPr>
            <a:spLocks noGrp="1" noChangeAspect="1"/>
          </p:cNvSpPr>
          <p:nvPr>
            <p:ph type="body" sz="quarter" idx="20"/>
          </p:nvPr>
        </p:nvSpPr>
        <p:spPr>
          <a:xfrm>
            <a:off x="5418084" y="2462353"/>
            <a:ext cx="1203008" cy="1198437"/>
          </a:xfrm>
          <a:custGeom>
            <a:avLst/>
            <a:gdLst>
              <a:gd name="connsiteX0" fmla="*/ 835659 w 1661668"/>
              <a:gd name="connsiteY0" fmla="*/ 0 h 1755902"/>
              <a:gd name="connsiteX1" fmla="*/ 1661668 w 1661668"/>
              <a:gd name="connsiteY1" fmla="*/ 1755902 h 1755902"/>
              <a:gd name="connsiteX2" fmla="*/ 0 w 1661668"/>
              <a:gd name="connsiteY2" fmla="*/ 1755902 h 1755902"/>
            </a:gdLst>
            <a:ahLst/>
            <a:cxnLst>
              <a:cxn ang="0">
                <a:pos x="connsiteX0" y="connsiteY0"/>
              </a:cxn>
              <a:cxn ang="0">
                <a:pos x="connsiteX1" y="connsiteY1"/>
              </a:cxn>
              <a:cxn ang="0">
                <a:pos x="connsiteX2" y="connsiteY2"/>
              </a:cxn>
            </a:cxnLst>
            <a:rect l="l" t="t" r="r" b="b"/>
            <a:pathLst>
              <a:path w="1661668" h="1755902">
                <a:moveTo>
                  <a:pt x="835659" y="0"/>
                </a:moveTo>
                <a:cubicBezTo>
                  <a:pt x="835659" y="0"/>
                  <a:pt x="1661668" y="1755902"/>
                  <a:pt x="1661668" y="1755902"/>
                </a:cubicBezTo>
                <a:lnTo>
                  <a:pt x="0" y="1755902"/>
                </a:lnTo>
                <a:close/>
              </a:path>
            </a:pathLst>
          </a:custGeom>
          <a:solidFill>
            <a:schemeClr val="accent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2" name="Text Placeholder 21">
            <a:extLst>
              <a:ext uri="{FF2B5EF4-FFF2-40B4-BE49-F238E27FC236}">
                <a16:creationId xmlns:a16="http://schemas.microsoft.com/office/drawing/2014/main" id="{48FE88D8-DD84-A127-C179-33FF11FEAF63}"/>
              </a:ext>
            </a:extLst>
          </p:cNvPr>
          <p:cNvSpPr>
            <a:spLocks noGrp="1"/>
          </p:cNvSpPr>
          <p:nvPr>
            <p:ph type="body" sz="quarter" idx="28"/>
          </p:nvPr>
        </p:nvSpPr>
        <p:spPr>
          <a:xfrm>
            <a:off x="7467941" y="5338110"/>
            <a:ext cx="2285375" cy="1523275"/>
          </a:xfrm>
          <a:custGeom>
            <a:avLst/>
            <a:gdLst>
              <a:gd name="connsiteX0" fmla="*/ 0 w 1954530"/>
              <a:gd name="connsiteY0" fmla="*/ 0 h 1381887"/>
              <a:gd name="connsiteX1" fmla="*/ 1305052 w 1954530"/>
              <a:gd name="connsiteY1" fmla="*/ 0 h 1381887"/>
              <a:gd name="connsiteX2" fmla="*/ 1954530 w 1954530"/>
              <a:gd name="connsiteY2" fmla="*/ 1381887 h 1381887"/>
              <a:gd name="connsiteX3" fmla="*/ 649478 w 1954530"/>
              <a:gd name="connsiteY3" fmla="*/ 1381887 h 1381887"/>
            </a:gdLst>
            <a:ahLst/>
            <a:cxnLst>
              <a:cxn ang="0">
                <a:pos x="connsiteX0" y="connsiteY0"/>
              </a:cxn>
              <a:cxn ang="0">
                <a:pos x="connsiteX1" y="connsiteY1"/>
              </a:cxn>
              <a:cxn ang="0">
                <a:pos x="connsiteX2" y="connsiteY2"/>
              </a:cxn>
              <a:cxn ang="0">
                <a:pos x="connsiteX3" y="connsiteY3"/>
              </a:cxn>
            </a:cxnLst>
            <a:rect l="l" t="t" r="r" b="b"/>
            <a:pathLst>
              <a:path w="1954530" h="1381887">
                <a:moveTo>
                  <a:pt x="0" y="0"/>
                </a:moveTo>
                <a:lnTo>
                  <a:pt x="1305052" y="0"/>
                </a:lnTo>
                <a:cubicBezTo>
                  <a:pt x="1305052" y="0"/>
                  <a:pt x="1954530" y="1381887"/>
                  <a:pt x="1954530" y="1381887"/>
                </a:cubicBezTo>
                <a:lnTo>
                  <a:pt x="649478" y="1381887"/>
                </a:lnTo>
                <a:close/>
              </a:path>
            </a:pathLst>
          </a:custGeom>
          <a:solidFill>
            <a:schemeClr val="bg1">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2" name="Free-form: Shape 41">
            <a:extLst>
              <a:ext uri="{FF2B5EF4-FFF2-40B4-BE49-F238E27FC236}">
                <a16:creationId xmlns:a16="http://schemas.microsoft.com/office/drawing/2014/main" id="{3FD0863A-B744-BA87-F617-4BBA1966EEB8}"/>
              </a:ext>
            </a:extLst>
          </p:cNvPr>
          <p:cNvSpPr/>
          <p:nvPr userDrawn="1"/>
        </p:nvSpPr>
        <p:spPr>
          <a:xfrm>
            <a:off x="6016052" y="2462353"/>
            <a:ext cx="1203008" cy="1198437"/>
          </a:xfrm>
          <a:custGeom>
            <a:avLst/>
            <a:gdLst>
              <a:gd name="connsiteX0" fmla="*/ 0 w 1028853"/>
              <a:gd name="connsiteY0" fmla="*/ 0 h 1087200"/>
              <a:gd name="connsiteX1" fmla="*/ 1028853 w 1028853"/>
              <a:gd name="connsiteY1" fmla="*/ 0 h 1087200"/>
              <a:gd name="connsiteX2" fmla="*/ 511439 w 1028853"/>
              <a:gd name="connsiteY2" fmla="*/ 1087200 h 1087200"/>
              <a:gd name="connsiteX3" fmla="*/ 0 w 1028853"/>
              <a:gd name="connsiteY3" fmla="*/ 0 h 1087200"/>
            </a:gdLst>
            <a:ahLst/>
            <a:cxnLst>
              <a:cxn ang="0">
                <a:pos x="connsiteX0" y="connsiteY0"/>
              </a:cxn>
              <a:cxn ang="0">
                <a:pos x="connsiteX1" y="connsiteY1"/>
              </a:cxn>
              <a:cxn ang="0">
                <a:pos x="connsiteX2" y="connsiteY2"/>
              </a:cxn>
              <a:cxn ang="0">
                <a:pos x="connsiteX3" y="connsiteY3"/>
              </a:cxn>
            </a:cxnLst>
            <a:rect l="l" t="t" r="r" b="b"/>
            <a:pathLst>
              <a:path w="1028853" h="1087200">
                <a:moveTo>
                  <a:pt x="0" y="0"/>
                </a:moveTo>
                <a:lnTo>
                  <a:pt x="1028853" y="0"/>
                </a:lnTo>
                <a:lnTo>
                  <a:pt x="511439" y="1087200"/>
                </a:lnTo>
                <a:cubicBezTo>
                  <a:pt x="511439" y="1087200"/>
                  <a:pt x="0" y="0"/>
                  <a:pt x="0" y="0"/>
                </a:cubicBezTo>
                <a:close/>
              </a:path>
            </a:pathLst>
          </a:custGeom>
          <a:solidFill>
            <a:srgbClr val="CEDC00">
              <a:alpha val="66000"/>
            </a:srgbClr>
          </a:solidFill>
          <a:ln w="12695" cap="flat">
            <a:noFill/>
            <a:prstDash val="solid"/>
            <a:miter/>
          </a:ln>
        </p:spPr>
        <p:txBody>
          <a:bodyPr rtlCol="0" anchor="ctr"/>
          <a:lstStyle/>
          <a:p>
            <a:endParaRPr lang="en-AU" sz="2263"/>
          </a:p>
        </p:txBody>
      </p:sp>
      <p:sp>
        <p:nvSpPr>
          <p:cNvPr id="48" name="Footer Placeholder 47">
            <a:extLst>
              <a:ext uri="{FF2B5EF4-FFF2-40B4-BE49-F238E27FC236}">
                <a16:creationId xmlns:a16="http://schemas.microsoft.com/office/drawing/2014/main" id="{3B780439-4CEB-319E-36A6-2245E0E90D82}"/>
              </a:ext>
            </a:extLst>
          </p:cNvPr>
          <p:cNvSpPr>
            <a:spLocks noGrp="1"/>
          </p:cNvSpPr>
          <p:nvPr>
            <p:ph type="ftr" sz="quarter" idx="30"/>
          </p:nvPr>
        </p:nvSpPr>
        <p:spPr/>
        <p:txBody>
          <a:bodyPr/>
          <a:lstStyle/>
          <a:p>
            <a:r>
              <a:rPr lang="en-GB"/>
              <a:t>To add a Footer, select 'Insert &gt; Header &amp; Footer'</a:t>
            </a:r>
            <a:endParaRPr lang="en-GB" dirty="0"/>
          </a:p>
        </p:txBody>
      </p:sp>
      <p:sp>
        <p:nvSpPr>
          <p:cNvPr id="49" name="Slide Number Placeholder 48">
            <a:extLst>
              <a:ext uri="{FF2B5EF4-FFF2-40B4-BE49-F238E27FC236}">
                <a16:creationId xmlns:a16="http://schemas.microsoft.com/office/drawing/2014/main" id="{E12E50E5-2AB4-40F8-DB59-DD28CB45376C}"/>
              </a:ext>
            </a:extLst>
          </p:cNvPr>
          <p:cNvSpPr>
            <a:spLocks noGrp="1"/>
          </p:cNvSpPr>
          <p:nvPr>
            <p:ph type="sldNum" sz="quarter" idx="31"/>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41600872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full width image">
    <p:spTree>
      <p:nvGrpSpPr>
        <p:cNvPr id="1" name=""/>
        <p:cNvGrpSpPr/>
        <p:nvPr/>
      </p:nvGrpSpPr>
      <p:grpSpPr>
        <a:xfrm>
          <a:off x="0" y="0"/>
          <a:ext cx="0" cy="0"/>
          <a:chOff x="0" y="0"/>
          <a:chExt cx="0" cy="0"/>
        </a:xfrm>
      </p:grpSpPr>
      <p:sp>
        <p:nvSpPr>
          <p:cNvPr id="20" name="Free-form: Shape 19">
            <a:extLst>
              <a:ext uri="{FF2B5EF4-FFF2-40B4-BE49-F238E27FC236}">
                <a16:creationId xmlns:a16="http://schemas.microsoft.com/office/drawing/2014/main" id="{660CC324-D8B6-FA03-A350-EA9CC846ABF1}"/>
              </a:ext>
            </a:extLst>
          </p:cNvPr>
          <p:cNvSpPr/>
          <p:nvPr userDrawn="1"/>
        </p:nvSpPr>
        <p:spPr>
          <a:xfrm>
            <a:off x="5418084" y="0"/>
            <a:ext cx="3039296" cy="3659583"/>
          </a:xfrm>
          <a:custGeom>
            <a:avLst/>
            <a:gdLst>
              <a:gd name="connsiteX0" fmla="*/ 2599309 w 2599309"/>
              <a:gd name="connsiteY0" fmla="*/ 0 h 3319907"/>
              <a:gd name="connsiteX1" fmla="*/ 1567307 w 2599309"/>
              <a:gd name="connsiteY1" fmla="*/ 0 h 3319907"/>
              <a:gd name="connsiteX2" fmla="*/ 1161923 w 2599309"/>
              <a:gd name="connsiteY2" fmla="*/ 859155 h 3319907"/>
              <a:gd name="connsiteX3" fmla="*/ 1161161 w 2599309"/>
              <a:gd name="connsiteY3" fmla="*/ 859155 h 3319907"/>
              <a:gd name="connsiteX4" fmla="*/ 0 w 2599309"/>
              <a:gd name="connsiteY4" fmla="*/ 3319907 h 3319907"/>
              <a:gd name="connsiteX5" fmla="*/ 1023366 w 2599309"/>
              <a:gd name="connsiteY5" fmla="*/ 3319907 h 3319907"/>
              <a:gd name="connsiteX6" fmla="*/ 2194560 w 2599309"/>
              <a:gd name="connsiteY6" fmla="*/ 859155 h 3319907"/>
              <a:gd name="connsiteX7" fmla="*/ 2190369 w 2599309"/>
              <a:gd name="connsiteY7" fmla="*/ 859155 h 3319907"/>
              <a:gd name="connsiteX8" fmla="*/ 2599309 w 2599309"/>
              <a:gd name="connsiteY8" fmla="*/ 0 h 331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309" h="3319907">
                <a:moveTo>
                  <a:pt x="2599309" y="0"/>
                </a:moveTo>
                <a:lnTo>
                  <a:pt x="1567307" y="0"/>
                </a:lnTo>
                <a:lnTo>
                  <a:pt x="1161923" y="859155"/>
                </a:lnTo>
                <a:lnTo>
                  <a:pt x="1161161" y="859155"/>
                </a:lnTo>
                <a:lnTo>
                  <a:pt x="0" y="3319907"/>
                </a:lnTo>
                <a:lnTo>
                  <a:pt x="1023366" y="3319907"/>
                </a:lnTo>
                <a:lnTo>
                  <a:pt x="2194560" y="859155"/>
                </a:lnTo>
                <a:lnTo>
                  <a:pt x="2190369" y="859155"/>
                </a:lnTo>
                <a:lnTo>
                  <a:pt x="2599309" y="0"/>
                </a:lnTo>
                <a:close/>
              </a:path>
            </a:pathLst>
          </a:custGeom>
          <a:solidFill>
            <a:srgbClr val="CEDC00"/>
          </a:solidFill>
          <a:ln w="12695" cap="flat">
            <a:noFill/>
            <a:prstDash val="solid"/>
            <a:miter/>
          </a:ln>
        </p:spPr>
        <p:txBody>
          <a:bodyPr rtlCol="0" anchor="ctr"/>
          <a:lstStyle/>
          <a:p>
            <a:endParaRPr lang="en-AU" sz="2263"/>
          </a:p>
        </p:txBody>
      </p:sp>
      <p:sp>
        <p:nvSpPr>
          <p:cNvPr id="61" name="Picture Placeholder 60">
            <a:extLst>
              <a:ext uri="{FF2B5EF4-FFF2-40B4-BE49-F238E27FC236}">
                <a16:creationId xmlns:a16="http://schemas.microsoft.com/office/drawing/2014/main" id="{BB41F336-5118-C5C9-E8E5-6A5CCDE66F58}"/>
              </a:ext>
            </a:extLst>
          </p:cNvPr>
          <p:cNvSpPr>
            <a:spLocks noGrp="1" noChangeAspect="1"/>
          </p:cNvSpPr>
          <p:nvPr>
            <p:ph type="pic" sz="quarter" idx="14" hasCustomPrompt="1"/>
          </p:nvPr>
        </p:nvSpPr>
        <p:spPr>
          <a:xfrm>
            <a:off x="-1" y="2461966"/>
            <a:ext cx="10700397" cy="4400882"/>
          </a:xfrm>
          <a:prstGeom prst="rect">
            <a:avLst/>
          </a:prstGeom>
          <a:solidFill>
            <a:schemeClr val="bg1">
              <a:lumMod val="75000"/>
            </a:schemeClr>
          </a:solidFill>
        </p:spPr>
        <p:txBody>
          <a:bodyPr wrap="square" lIns="504000" tIns="288000" rIns="5760000" bIns="360000" anchor="t" anchorCtr="0">
            <a:noAutofit/>
          </a:bodyPr>
          <a:lstStyle>
            <a:lvl1pPr algn="l">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24" name="Subtitle 2">
            <a:extLst>
              <a:ext uri="{FF2B5EF4-FFF2-40B4-BE49-F238E27FC236}">
                <a16:creationId xmlns:a16="http://schemas.microsoft.com/office/drawing/2014/main" id="{6B334685-C921-7BF8-BD42-E66D7F73CDEC}"/>
              </a:ext>
            </a:extLst>
          </p:cNvPr>
          <p:cNvSpPr>
            <a:spLocks noGrp="1"/>
          </p:cNvSpPr>
          <p:nvPr>
            <p:ph type="subTitle" idx="1" hasCustomPrompt="1"/>
          </p:nvPr>
        </p:nvSpPr>
        <p:spPr>
          <a:xfrm>
            <a:off x="568002" y="614693"/>
            <a:ext cx="5366953" cy="1587333"/>
          </a:xfrm>
        </p:spPr>
        <p:txBody>
          <a:bodyPr/>
          <a:lstStyle>
            <a:lvl1pPr marL="0" indent="0" algn="l">
              <a:buNone/>
              <a:defRPr sz="3417" b="0">
                <a:solidFill>
                  <a:schemeClr val="accent6"/>
                </a:solidFill>
              </a:defRPr>
            </a:lvl1pPr>
            <a:lvl2pPr marL="0" indent="0" algn="l">
              <a:buNone/>
              <a:defRPr sz="2535" b="0">
                <a:solidFill>
                  <a:schemeClr val="accent6"/>
                </a:solidFill>
              </a:defRPr>
            </a:lvl2pPr>
            <a:lvl3pPr marL="0" indent="0" algn="l">
              <a:buNone/>
              <a:defRPr sz="2535" b="0">
                <a:solidFill>
                  <a:schemeClr val="accent6"/>
                </a:solidFill>
              </a:defRPr>
            </a:lvl3pPr>
            <a:lvl4pPr marL="0" indent="0" algn="l">
              <a:buNone/>
              <a:defRPr sz="2535" b="0">
                <a:solidFill>
                  <a:schemeClr val="accent6"/>
                </a:solidFill>
              </a:defRPr>
            </a:lvl4pPr>
            <a:lvl5pPr marL="0" indent="0" algn="l">
              <a:buNone/>
              <a:defRPr sz="2535" b="0">
                <a:solidFill>
                  <a:schemeClr val="accent6"/>
                </a:solidFill>
              </a:defRPr>
            </a:lvl5pPr>
            <a:lvl6pPr marL="0" indent="0" algn="l">
              <a:buNone/>
              <a:defRPr sz="2535" b="0">
                <a:solidFill>
                  <a:schemeClr val="accent6"/>
                </a:solidFill>
              </a:defRPr>
            </a:lvl6pPr>
            <a:lvl7pPr marL="0" indent="0" algn="l">
              <a:buNone/>
              <a:defRPr sz="2535" b="0">
                <a:solidFill>
                  <a:schemeClr val="accent6"/>
                </a:solidFill>
              </a:defRPr>
            </a:lvl7pPr>
            <a:lvl8pPr marL="0" indent="0" algn="l">
              <a:buNone/>
              <a:defRPr sz="2535" b="0">
                <a:solidFill>
                  <a:schemeClr val="accent6"/>
                </a:solidFill>
              </a:defRPr>
            </a:lvl8pPr>
            <a:lvl9pPr marL="0" indent="0" algn="l">
              <a:buNone/>
              <a:defRPr sz="2535" b="0">
                <a:solidFill>
                  <a:schemeClr val="accent6"/>
                </a:solidFill>
              </a:defRPr>
            </a:lvl9pPr>
          </a:lstStyle>
          <a:p>
            <a:r>
              <a:rPr lang="en-AU" dirty="0"/>
              <a:t>Title heading-first level</a:t>
            </a:r>
            <a:endParaRPr lang="en-GB" dirty="0"/>
          </a:p>
          <a:p>
            <a:pPr lvl="1"/>
            <a:r>
              <a:rPr lang="en-US" dirty="0"/>
              <a:t>Subheading-second level</a:t>
            </a:r>
            <a:endParaRPr lang="en-GB" dirty="0"/>
          </a:p>
        </p:txBody>
      </p:sp>
      <p:sp>
        <p:nvSpPr>
          <p:cNvPr id="8" name="Footer Placeholder 7">
            <a:extLst>
              <a:ext uri="{FF2B5EF4-FFF2-40B4-BE49-F238E27FC236}">
                <a16:creationId xmlns:a16="http://schemas.microsoft.com/office/drawing/2014/main" id="{61E872F9-2264-1A70-83DD-6A9D9E266E05}"/>
              </a:ext>
            </a:extLst>
          </p:cNvPr>
          <p:cNvSpPr>
            <a:spLocks noGrp="1"/>
          </p:cNvSpPr>
          <p:nvPr>
            <p:ph type="ftr" sz="quarter" idx="16"/>
          </p:nvPr>
        </p:nvSpPr>
        <p:spPr/>
        <p:txBody>
          <a:bodyPr/>
          <a:lstStyle>
            <a:lvl1pPr>
              <a:defRPr>
                <a:solidFill>
                  <a:schemeClr val="accent6"/>
                </a:solidFill>
              </a:defRPr>
            </a:lvl1pPr>
          </a:lstStyle>
          <a:p>
            <a:r>
              <a:rPr lang="en-GB"/>
              <a:t>To add a Footer, select 'Insert &gt; Header &amp; Footer'</a:t>
            </a:r>
            <a:endParaRPr lang="en-GB" dirty="0"/>
          </a:p>
        </p:txBody>
      </p:sp>
      <p:sp>
        <p:nvSpPr>
          <p:cNvPr id="10" name="Slide Number Placeholder 9">
            <a:extLst>
              <a:ext uri="{FF2B5EF4-FFF2-40B4-BE49-F238E27FC236}">
                <a16:creationId xmlns:a16="http://schemas.microsoft.com/office/drawing/2014/main" id="{A9AE11B7-4DF9-5F56-C639-44F49C6B670E}"/>
              </a:ext>
            </a:extLst>
          </p:cNvPr>
          <p:cNvSpPr>
            <a:spLocks noGrp="1"/>
          </p:cNvSpPr>
          <p:nvPr>
            <p:ph type="sldNum" sz="quarter" idx="17"/>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sp>
        <p:nvSpPr>
          <p:cNvPr id="18" name="Free-form: Shape 17">
            <a:extLst>
              <a:ext uri="{FF2B5EF4-FFF2-40B4-BE49-F238E27FC236}">
                <a16:creationId xmlns:a16="http://schemas.microsoft.com/office/drawing/2014/main" id="{E7A27014-865C-F1D4-CAF7-08476B875D17}"/>
              </a:ext>
            </a:extLst>
          </p:cNvPr>
          <p:cNvSpPr/>
          <p:nvPr userDrawn="1"/>
        </p:nvSpPr>
        <p:spPr>
          <a:xfrm>
            <a:off x="6350202" y="6861384"/>
            <a:ext cx="1877156" cy="698290"/>
          </a:xfrm>
          <a:custGeom>
            <a:avLst/>
            <a:gdLst>
              <a:gd name="connsiteX0" fmla="*/ 1605407 w 1605407"/>
              <a:gd name="connsiteY0" fmla="*/ 0 h 633476"/>
              <a:gd name="connsiteX1" fmla="*/ 299974 w 1605407"/>
              <a:gd name="connsiteY1" fmla="*/ 0 h 633476"/>
              <a:gd name="connsiteX2" fmla="*/ 114300 w 1605407"/>
              <a:gd name="connsiteY2" fmla="*/ 390906 h 633476"/>
              <a:gd name="connsiteX3" fmla="*/ 115189 w 1605407"/>
              <a:gd name="connsiteY3" fmla="*/ 390906 h 633476"/>
              <a:gd name="connsiteX4" fmla="*/ 0 w 1605407"/>
              <a:gd name="connsiteY4" fmla="*/ 633476 h 633476"/>
              <a:gd name="connsiteX5" fmla="*/ 1305814 w 1605407"/>
              <a:gd name="connsiteY5" fmla="*/ 633476 h 633476"/>
              <a:gd name="connsiteX6" fmla="*/ 1490472 w 1605407"/>
              <a:gd name="connsiteY6" fmla="*/ 243713 h 633476"/>
              <a:gd name="connsiteX7" fmla="*/ 1489837 w 1605407"/>
              <a:gd name="connsiteY7" fmla="*/ 243713 h 633476"/>
              <a:gd name="connsiteX8" fmla="*/ 1605407 w 1605407"/>
              <a:gd name="connsiteY8" fmla="*/ 0 h 63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5407" h="633476">
                <a:moveTo>
                  <a:pt x="1605407" y="0"/>
                </a:moveTo>
                <a:lnTo>
                  <a:pt x="299974" y="0"/>
                </a:lnTo>
                <a:lnTo>
                  <a:pt x="114300" y="390906"/>
                </a:lnTo>
                <a:lnTo>
                  <a:pt x="115189" y="390906"/>
                </a:lnTo>
                <a:lnTo>
                  <a:pt x="0" y="633476"/>
                </a:lnTo>
                <a:lnTo>
                  <a:pt x="1305814" y="633476"/>
                </a:lnTo>
                <a:lnTo>
                  <a:pt x="1490472" y="243713"/>
                </a:lnTo>
                <a:lnTo>
                  <a:pt x="1489837" y="243713"/>
                </a:lnTo>
                <a:lnTo>
                  <a:pt x="1605407" y="0"/>
                </a:lnTo>
                <a:close/>
              </a:path>
            </a:pathLst>
          </a:custGeom>
          <a:solidFill>
            <a:srgbClr val="00B2A9"/>
          </a:solidFill>
          <a:ln w="12695" cap="flat">
            <a:noFill/>
            <a:prstDash val="solid"/>
            <a:miter/>
          </a:ln>
        </p:spPr>
        <p:txBody>
          <a:bodyPr rtlCol="0" anchor="ctr"/>
          <a:lstStyle/>
          <a:p>
            <a:endParaRPr lang="en-AU" sz="2263"/>
          </a:p>
        </p:txBody>
      </p:sp>
      <p:cxnSp>
        <p:nvCxnSpPr>
          <p:cNvPr id="19" name="Straight Connector 18">
            <a:extLst>
              <a:ext uri="{FF2B5EF4-FFF2-40B4-BE49-F238E27FC236}">
                <a16:creationId xmlns:a16="http://schemas.microsoft.com/office/drawing/2014/main" id="{FA7A3D40-02AD-DBB9-335F-21278C945676}"/>
              </a:ext>
            </a:extLst>
          </p:cNvPr>
          <p:cNvCxnSpPr/>
          <p:nvPr userDrawn="1"/>
        </p:nvCxnSpPr>
        <p:spPr>
          <a:xfrm>
            <a:off x="9621984" y="7125695"/>
            <a:ext cx="0" cy="17149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3D3D7C47-BE68-07DE-DF7D-956176BFA7C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07087" y="997347"/>
            <a:ext cx="1961508" cy="567943"/>
          </a:xfrm>
          <a:prstGeom prst="rect">
            <a:avLst/>
          </a:prstGeom>
        </p:spPr>
      </p:pic>
      <p:sp>
        <p:nvSpPr>
          <p:cNvPr id="37" name="Text Placeholder 36">
            <a:extLst>
              <a:ext uri="{FF2B5EF4-FFF2-40B4-BE49-F238E27FC236}">
                <a16:creationId xmlns:a16="http://schemas.microsoft.com/office/drawing/2014/main" id="{CFB86533-F1A5-7166-E415-5B35F9186D90}"/>
              </a:ext>
            </a:extLst>
          </p:cNvPr>
          <p:cNvSpPr>
            <a:spLocks noGrp="1" noChangeAspect="1"/>
          </p:cNvSpPr>
          <p:nvPr>
            <p:ph type="body" sz="quarter" idx="18"/>
          </p:nvPr>
        </p:nvSpPr>
        <p:spPr>
          <a:xfrm>
            <a:off x="6700954" y="5338110"/>
            <a:ext cx="1526405" cy="1523275"/>
          </a:xfrm>
          <a:custGeom>
            <a:avLst/>
            <a:gdLst>
              <a:gd name="connsiteX0" fmla="*/ 655955 w 1305433"/>
              <a:gd name="connsiteY0" fmla="*/ 0 h 1381887"/>
              <a:gd name="connsiteX1" fmla="*/ 1305433 w 1305433"/>
              <a:gd name="connsiteY1" fmla="*/ 1381887 h 1381887"/>
              <a:gd name="connsiteX2" fmla="*/ 0 w 1305433"/>
              <a:gd name="connsiteY2" fmla="*/ 1381887 h 1381887"/>
            </a:gdLst>
            <a:ahLst/>
            <a:cxnLst>
              <a:cxn ang="0">
                <a:pos x="connsiteX0" y="connsiteY0"/>
              </a:cxn>
              <a:cxn ang="0">
                <a:pos x="connsiteX1" y="connsiteY1"/>
              </a:cxn>
              <a:cxn ang="0">
                <a:pos x="connsiteX2" y="connsiteY2"/>
              </a:cxn>
            </a:cxnLst>
            <a:rect l="l" t="t" r="r" b="b"/>
            <a:pathLst>
              <a:path w="1305433" h="1381887">
                <a:moveTo>
                  <a:pt x="655955" y="0"/>
                </a:moveTo>
                <a:lnTo>
                  <a:pt x="1305433" y="1381887"/>
                </a:lnTo>
                <a:lnTo>
                  <a:pt x="0" y="1381887"/>
                </a:lnTo>
                <a:close/>
              </a:path>
            </a:pathLst>
          </a:custGeom>
          <a:solidFill>
            <a:schemeClr val="tx2">
              <a:alpha val="66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0" name="Text Placeholder 2">
            <a:extLst>
              <a:ext uri="{FF2B5EF4-FFF2-40B4-BE49-F238E27FC236}">
                <a16:creationId xmlns:a16="http://schemas.microsoft.com/office/drawing/2014/main" id="{78EBBF75-4777-D465-98BA-F612C441DE8E}"/>
              </a:ext>
            </a:extLst>
          </p:cNvPr>
          <p:cNvSpPr>
            <a:spLocks noGrp="1" noChangeAspect="1"/>
          </p:cNvSpPr>
          <p:nvPr>
            <p:ph type="body" sz="quarter" idx="22"/>
          </p:nvPr>
        </p:nvSpPr>
        <p:spPr>
          <a:xfrm>
            <a:off x="7467943" y="5338109"/>
            <a:ext cx="1526544" cy="1523840"/>
          </a:xfrm>
          <a:custGeom>
            <a:avLst/>
            <a:gdLst>
              <a:gd name="connsiteX0" fmla="*/ 0 w 2119820"/>
              <a:gd name="connsiteY0" fmla="*/ 0 h 2244597"/>
              <a:gd name="connsiteX1" fmla="*/ 2119757 w 2119820"/>
              <a:gd name="connsiteY1" fmla="*/ 0 h 2244597"/>
              <a:gd name="connsiteX2" fmla="*/ 2119820 w 2119820"/>
              <a:gd name="connsiteY2" fmla="*/ 135 h 2244597"/>
              <a:gd name="connsiteX3" fmla="*/ 1054953 w 2119820"/>
              <a:gd name="connsiteY3" fmla="*/ 2244597 h 2244597"/>
              <a:gd name="connsiteX4" fmla="*/ 1054925 w 2119820"/>
              <a:gd name="connsiteY4" fmla="*/ 2244597 h 22445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9820" h="2244597">
                <a:moveTo>
                  <a:pt x="0" y="0"/>
                </a:moveTo>
                <a:lnTo>
                  <a:pt x="2119757" y="0"/>
                </a:lnTo>
                <a:lnTo>
                  <a:pt x="2119820" y="135"/>
                </a:lnTo>
                <a:lnTo>
                  <a:pt x="1054953" y="2244597"/>
                </a:lnTo>
                <a:lnTo>
                  <a:pt x="1054925" y="2244597"/>
                </a:lnTo>
                <a:close/>
              </a:path>
            </a:pathLst>
          </a:custGeom>
          <a:solidFill>
            <a:schemeClr val="tx2">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1" name="Text Placeholder 5">
            <a:extLst>
              <a:ext uri="{FF2B5EF4-FFF2-40B4-BE49-F238E27FC236}">
                <a16:creationId xmlns:a16="http://schemas.microsoft.com/office/drawing/2014/main" id="{5797021D-985E-0973-26CF-15DF51748122}"/>
              </a:ext>
            </a:extLst>
          </p:cNvPr>
          <p:cNvSpPr>
            <a:spLocks noGrp="1" noChangeAspect="1"/>
          </p:cNvSpPr>
          <p:nvPr>
            <p:ph type="body" sz="quarter" idx="23"/>
          </p:nvPr>
        </p:nvSpPr>
        <p:spPr>
          <a:xfrm>
            <a:off x="6016052" y="2461966"/>
            <a:ext cx="1203008" cy="1198437"/>
          </a:xfrm>
          <a:custGeom>
            <a:avLst/>
            <a:gdLst>
              <a:gd name="connsiteX0" fmla="*/ 0 w 1661668"/>
              <a:gd name="connsiteY0" fmla="*/ 0 h 1755902"/>
              <a:gd name="connsiteX1" fmla="*/ 1661668 w 1661668"/>
              <a:gd name="connsiteY1" fmla="*/ 0 h 1755902"/>
              <a:gd name="connsiteX2" fmla="*/ 826009 w 1661668"/>
              <a:gd name="connsiteY2" fmla="*/ 1755902 h 1755902"/>
              <a:gd name="connsiteX3" fmla="*/ 0 w 1661668"/>
              <a:gd name="connsiteY3" fmla="*/ 0 h 1755902"/>
            </a:gdLst>
            <a:ahLst/>
            <a:cxnLst>
              <a:cxn ang="0">
                <a:pos x="connsiteX0" y="connsiteY0"/>
              </a:cxn>
              <a:cxn ang="0">
                <a:pos x="connsiteX1" y="connsiteY1"/>
              </a:cxn>
              <a:cxn ang="0">
                <a:pos x="connsiteX2" y="connsiteY2"/>
              </a:cxn>
              <a:cxn ang="0">
                <a:pos x="connsiteX3" y="connsiteY3"/>
              </a:cxn>
            </a:cxnLst>
            <a:rect l="l" t="t" r="r" b="b"/>
            <a:pathLst>
              <a:path w="1661668" h="1755902">
                <a:moveTo>
                  <a:pt x="0" y="0"/>
                </a:moveTo>
                <a:lnTo>
                  <a:pt x="1661668" y="0"/>
                </a:lnTo>
                <a:lnTo>
                  <a:pt x="826009" y="1755902"/>
                </a:lnTo>
                <a:cubicBezTo>
                  <a:pt x="826009" y="1755902"/>
                  <a:pt x="0" y="0"/>
                  <a:pt x="0" y="0"/>
                </a:cubicBezTo>
                <a:close/>
              </a:path>
            </a:pathLst>
          </a:custGeom>
          <a:solidFill>
            <a:schemeClr val="accent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2" name="Text Placeholder 31">
            <a:extLst>
              <a:ext uri="{FF2B5EF4-FFF2-40B4-BE49-F238E27FC236}">
                <a16:creationId xmlns:a16="http://schemas.microsoft.com/office/drawing/2014/main" id="{EB2E7923-7ED8-1CD8-94BA-243F169D2D85}"/>
              </a:ext>
            </a:extLst>
          </p:cNvPr>
          <p:cNvSpPr>
            <a:spLocks noGrp="1"/>
          </p:cNvSpPr>
          <p:nvPr>
            <p:ph type="body" sz="quarter" idx="19"/>
          </p:nvPr>
        </p:nvSpPr>
        <p:spPr>
          <a:xfrm>
            <a:off x="4820679" y="2461966"/>
            <a:ext cx="1793997" cy="1197229"/>
          </a:xfrm>
          <a:custGeom>
            <a:avLst/>
            <a:gdLst>
              <a:gd name="connsiteX0" fmla="*/ 0 w 1534287"/>
              <a:gd name="connsiteY0" fmla="*/ 0 h 1086104"/>
              <a:gd name="connsiteX1" fmla="*/ 1023366 w 1534287"/>
              <a:gd name="connsiteY1" fmla="*/ 0 h 1086104"/>
              <a:gd name="connsiteX2" fmla="*/ 1534287 w 1534287"/>
              <a:gd name="connsiteY2" fmla="*/ 1086104 h 1086104"/>
              <a:gd name="connsiteX3" fmla="*/ 510921 w 1534287"/>
              <a:gd name="connsiteY3" fmla="*/ 1086104 h 1086104"/>
              <a:gd name="connsiteX4" fmla="*/ 0 w 1534287"/>
              <a:gd name="connsiteY4" fmla="*/ 0 h 1086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4287" h="1086104">
                <a:moveTo>
                  <a:pt x="0" y="0"/>
                </a:moveTo>
                <a:lnTo>
                  <a:pt x="1023366" y="0"/>
                </a:lnTo>
                <a:lnTo>
                  <a:pt x="1534287" y="1086104"/>
                </a:lnTo>
                <a:lnTo>
                  <a:pt x="510921" y="1086104"/>
                </a:lnTo>
                <a:cubicBezTo>
                  <a:pt x="510921" y="1086104"/>
                  <a:pt x="0" y="0"/>
                  <a:pt x="0" y="0"/>
                </a:cubicBezTo>
                <a:close/>
              </a:path>
            </a:pathLst>
          </a:custGeom>
          <a:solidFill>
            <a:schemeClr val="bg1">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5" name="Text Placeholder 24">
            <a:extLst>
              <a:ext uri="{FF2B5EF4-FFF2-40B4-BE49-F238E27FC236}">
                <a16:creationId xmlns:a16="http://schemas.microsoft.com/office/drawing/2014/main" id="{022B79C5-62BF-CA09-6885-DE822CF41B7A}"/>
              </a:ext>
            </a:extLst>
          </p:cNvPr>
          <p:cNvSpPr>
            <a:spLocks noGrp="1" noChangeAspect="1"/>
          </p:cNvSpPr>
          <p:nvPr>
            <p:ph type="body" sz="quarter" idx="20"/>
          </p:nvPr>
        </p:nvSpPr>
        <p:spPr>
          <a:xfrm>
            <a:off x="5418084" y="2461966"/>
            <a:ext cx="1203008" cy="1198437"/>
          </a:xfrm>
          <a:custGeom>
            <a:avLst/>
            <a:gdLst>
              <a:gd name="connsiteX0" fmla="*/ 835659 w 1661668"/>
              <a:gd name="connsiteY0" fmla="*/ 0 h 1755902"/>
              <a:gd name="connsiteX1" fmla="*/ 1661668 w 1661668"/>
              <a:gd name="connsiteY1" fmla="*/ 1755902 h 1755902"/>
              <a:gd name="connsiteX2" fmla="*/ 0 w 1661668"/>
              <a:gd name="connsiteY2" fmla="*/ 1755902 h 1755902"/>
            </a:gdLst>
            <a:ahLst/>
            <a:cxnLst>
              <a:cxn ang="0">
                <a:pos x="connsiteX0" y="connsiteY0"/>
              </a:cxn>
              <a:cxn ang="0">
                <a:pos x="connsiteX1" y="connsiteY1"/>
              </a:cxn>
              <a:cxn ang="0">
                <a:pos x="connsiteX2" y="connsiteY2"/>
              </a:cxn>
            </a:cxnLst>
            <a:rect l="l" t="t" r="r" b="b"/>
            <a:pathLst>
              <a:path w="1661668" h="1755902">
                <a:moveTo>
                  <a:pt x="835659" y="0"/>
                </a:moveTo>
                <a:cubicBezTo>
                  <a:pt x="835659" y="0"/>
                  <a:pt x="1661668" y="1755902"/>
                  <a:pt x="1661668" y="1755902"/>
                </a:cubicBezTo>
                <a:lnTo>
                  <a:pt x="0" y="1755902"/>
                </a:lnTo>
                <a:close/>
              </a:path>
            </a:pathLst>
          </a:custGeom>
          <a:solidFill>
            <a:schemeClr val="accent1">
              <a:alpha val="33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9" name="Text Placeholder 38">
            <a:extLst>
              <a:ext uri="{FF2B5EF4-FFF2-40B4-BE49-F238E27FC236}">
                <a16:creationId xmlns:a16="http://schemas.microsoft.com/office/drawing/2014/main" id="{6599D0EC-660D-FC34-6C21-DA20DC3AEAB7}"/>
              </a:ext>
            </a:extLst>
          </p:cNvPr>
          <p:cNvSpPr>
            <a:spLocks noGrp="1"/>
          </p:cNvSpPr>
          <p:nvPr>
            <p:ph type="body" sz="quarter" idx="24"/>
          </p:nvPr>
        </p:nvSpPr>
        <p:spPr>
          <a:xfrm>
            <a:off x="7467941" y="5338110"/>
            <a:ext cx="2285375" cy="1523275"/>
          </a:xfrm>
          <a:custGeom>
            <a:avLst/>
            <a:gdLst>
              <a:gd name="connsiteX0" fmla="*/ 0 w 1954530"/>
              <a:gd name="connsiteY0" fmla="*/ 0 h 1381887"/>
              <a:gd name="connsiteX1" fmla="*/ 1305052 w 1954530"/>
              <a:gd name="connsiteY1" fmla="*/ 0 h 1381887"/>
              <a:gd name="connsiteX2" fmla="*/ 1954530 w 1954530"/>
              <a:gd name="connsiteY2" fmla="*/ 1381887 h 1381887"/>
              <a:gd name="connsiteX3" fmla="*/ 649478 w 1954530"/>
              <a:gd name="connsiteY3" fmla="*/ 1381887 h 1381887"/>
            </a:gdLst>
            <a:ahLst/>
            <a:cxnLst>
              <a:cxn ang="0">
                <a:pos x="connsiteX0" y="connsiteY0"/>
              </a:cxn>
              <a:cxn ang="0">
                <a:pos x="connsiteX1" y="connsiteY1"/>
              </a:cxn>
              <a:cxn ang="0">
                <a:pos x="connsiteX2" y="connsiteY2"/>
              </a:cxn>
              <a:cxn ang="0">
                <a:pos x="connsiteX3" y="connsiteY3"/>
              </a:cxn>
            </a:cxnLst>
            <a:rect l="l" t="t" r="r" b="b"/>
            <a:pathLst>
              <a:path w="1954530" h="1381887">
                <a:moveTo>
                  <a:pt x="0" y="0"/>
                </a:moveTo>
                <a:lnTo>
                  <a:pt x="1305052" y="0"/>
                </a:lnTo>
                <a:cubicBezTo>
                  <a:pt x="1305052" y="0"/>
                  <a:pt x="1954530" y="1381887"/>
                  <a:pt x="1954530" y="1381887"/>
                </a:cubicBezTo>
                <a:lnTo>
                  <a:pt x="649478" y="1381887"/>
                </a:lnTo>
                <a:close/>
              </a:path>
            </a:pathLst>
          </a:custGeom>
          <a:solidFill>
            <a:schemeClr val="bg1">
              <a:alpha val="50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1725429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F60952-EFEB-073A-2890-058D4ABDFEC4}"/>
              </a:ext>
            </a:extLst>
          </p:cNvPr>
          <p:cNvGraphicFramePr>
            <a:graphicFrameLocks noChangeAspect="1"/>
          </p:cNvGraphicFramePr>
          <p:nvPr userDrawn="1">
            <p:custDataLst>
              <p:tags r:id="rId1"/>
            </p:custDataLst>
            <p:extLst>
              <p:ext uri="{D42A27DB-BD31-4B8C-83A1-F6EECF244321}">
                <p14:modId xmlns:p14="http://schemas.microsoft.com/office/powerpoint/2010/main" val="2237896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Object 3" hidden="1">
                        <a:extLst>
                          <a:ext uri="{FF2B5EF4-FFF2-40B4-BE49-F238E27FC236}">
                            <a16:creationId xmlns:a16="http://schemas.microsoft.com/office/drawing/2014/main" id="{1EF60952-EFEB-073A-2890-058D4ABDFE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lvl1pPr>
          </a:lstStyle>
          <a:p>
            <a:r>
              <a:rPr lang="en-US"/>
              <a:t>Click to edit Master title style</a:t>
            </a:r>
            <a:endParaRPr lang="en-GB" dirty="0"/>
          </a:p>
        </p:txBody>
      </p:sp>
      <p:sp>
        <p:nvSpPr>
          <p:cNvPr id="7" name="Content Placeholder 8">
            <a:extLst>
              <a:ext uri="{FF2B5EF4-FFF2-40B4-BE49-F238E27FC236}">
                <a16:creationId xmlns:a16="http://schemas.microsoft.com/office/drawing/2014/main" id="{90448248-0EB9-324F-5283-E3BF1DCAAEC8}"/>
              </a:ext>
            </a:extLst>
          </p:cNvPr>
          <p:cNvSpPr>
            <a:spLocks noGrp="1"/>
          </p:cNvSpPr>
          <p:nvPr>
            <p:ph sz="quarter" idx="14" hasCustomPrompt="1"/>
          </p:nvPr>
        </p:nvSpPr>
        <p:spPr>
          <a:xfrm>
            <a:off x="568001" y="2012413"/>
            <a:ext cx="8208282" cy="4365167"/>
          </a:xfrm>
        </p:spPr>
        <p:txBody>
          <a:bodyPr/>
          <a:lstStyle>
            <a:lvl1pPr>
              <a:defRPr/>
            </a:lvl1pPr>
          </a:lstStyle>
          <a:p>
            <a:pPr lvl="0"/>
            <a:r>
              <a:rPr lang="en-GB" dirty="0"/>
              <a:t>Click to add text, or click on one of the central icons to add a table, chart, SmartArt, image or media. Press the ‘Increase/Decrease’ button under the Home tab to move through the text styles.</a:t>
            </a:r>
            <a:endParaRPr lang="en-US" dirty="0"/>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29720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3" name="Content Placeholder 2"/>
          <p:cNvSpPr>
            <a:spLocks noGrp="1"/>
          </p:cNvSpPr>
          <p:nvPr>
            <p:ph sz="half" idx="1" hasCustomPrompt="1"/>
          </p:nvPr>
        </p:nvSpPr>
        <p:spPr>
          <a:xfrm>
            <a:off x="568001" y="2012413"/>
            <a:ext cx="3788438" cy="4365167"/>
          </a:xfrm>
        </p:spPr>
        <p:txBody>
          <a:bodyPr/>
          <a:lstStyle>
            <a:lvl1pPr>
              <a:defRPr/>
            </a:lvl1pPr>
          </a:lstStyle>
          <a:p>
            <a:pPr lvl="0"/>
            <a:r>
              <a:rPr lang="en-US" dirty="0"/>
              <a:t>This slide can be used for two text boxes, or text and: chart, SmartArt, image or table.</a:t>
            </a:r>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987845" y="2012413"/>
            <a:ext cx="3788438" cy="4365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a:extLst>
              <a:ext uri="{FF2B5EF4-FFF2-40B4-BE49-F238E27FC236}">
                <a16:creationId xmlns:a16="http://schemas.microsoft.com/office/drawing/2014/main" id="{47A1DEDE-6AEA-86E9-4E33-2C1EA515B29B}"/>
              </a:ext>
            </a:extLst>
          </p:cNvPr>
          <p:cNvSpPr>
            <a:spLocks noGrp="1"/>
          </p:cNvSpPr>
          <p:nvPr>
            <p:ph type="dt" sz="half" idx="10"/>
          </p:nvPr>
        </p:nvSpPr>
        <p:spPr/>
        <p:txBody>
          <a:bodyPr/>
          <a:lstStyle/>
          <a:p>
            <a:fld id="{93472334-F3BF-4941-B066-A9089F7890EF}" type="datetime1">
              <a:rPr lang="en-GB" smtClean="0"/>
              <a:t>31/07/2023</a:t>
            </a:fld>
            <a:endParaRPr lang="en-GB" dirty="0"/>
          </a:p>
        </p:txBody>
      </p:sp>
      <p:sp>
        <p:nvSpPr>
          <p:cNvPr id="10" name="Footer Placeholder 9">
            <a:extLst>
              <a:ext uri="{FF2B5EF4-FFF2-40B4-BE49-F238E27FC236}">
                <a16:creationId xmlns:a16="http://schemas.microsoft.com/office/drawing/2014/main" id="{A2BBABFD-F4F5-2DE9-E006-D11D24911AFB}"/>
              </a:ext>
            </a:extLst>
          </p:cNvPr>
          <p:cNvSpPr>
            <a:spLocks noGrp="1"/>
          </p:cNvSpPr>
          <p:nvPr>
            <p:ph type="ftr" sz="quarter" idx="11"/>
          </p:nvPr>
        </p:nvSpPr>
        <p:spPr/>
        <p:txBody>
          <a:bodyPr/>
          <a:lstStyle/>
          <a:p>
            <a:r>
              <a:rPr lang="en-GB"/>
              <a:t>To add a Footer, select 'Insert &gt; Header &amp; Footer'</a:t>
            </a:r>
            <a:endParaRPr lang="en-GB" dirty="0"/>
          </a:p>
        </p:txBody>
      </p:sp>
      <p:sp>
        <p:nvSpPr>
          <p:cNvPr id="11" name="Slide Number Placeholder 10">
            <a:extLst>
              <a:ext uri="{FF2B5EF4-FFF2-40B4-BE49-F238E27FC236}">
                <a16:creationId xmlns:a16="http://schemas.microsoft.com/office/drawing/2014/main" id="{E07799FD-E5BC-A43F-4E9E-C3BC17F3CF7E}"/>
              </a:ext>
            </a:extLst>
          </p:cNvPr>
          <p:cNvSpPr>
            <a:spLocks noGrp="1"/>
          </p:cNvSpPr>
          <p:nvPr>
            <p:ph type="sldNum" sz="quarter" idx="12"/>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35154472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dirty="0"/>
          </a:p>
        </p:txBody>
      </p:sp>
      <p:sp>
        <p:nvSpPr>
          <p:cNvPr id="7" name="Content Placeholder 8">
            <a:extLst>
              <a:ext uri="{FF2B5EF4-FFF2-40B4-BE49-F238E27FC236}">
                <a16:creationId xmlns:a16="http://schemas.microsoft.com/office/drawing/2014/main" id="{90448248-0EB9-324F-5283-E3BF1DCAAEC8}"/>
              </a:ext>
            </a:extLst>
          </p:cNvPr>
          <p:cNvSpPr>
            <a:spLocks noGrp="1"/>
          </p:cNvSpPr>
          <p:nvPr>
            <p:ph sz="quarter" idx="14" hasCustomPrompt="1"/>
          </p:nvPr>
        </p:nvSpPr>
        <p:spPr>
          <a:xfrm>
            <a:off x="568001" y="2607662"/>
            <a:ext cx="8208282" cy="3769917"/>
          </a:xfrm>
        </p:spPr>
        <p:txBody>
          <a:bodyPr/>
          <a:lstStyle>
            <a:lvl1pPr>
              <a:defRPr/>
            </a:lvl1pPr>
          </a:lstStyle>
          <a:p>
            <a:pPr lvl="0"/>
            <a:r>
              <a:rPr lang="en-GB" dirty="0"/>
              <a:t>Select one of the central icons to add a table, chart, SmartArt, image or media</a:t>
            </a:r>
            <a:endParaRPr lang="en-US" dirty="0"/>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9">
            <a:extLst>
              <a:ext uri="{FF2B5EF4-FFF2-40B4-BE49-F238E27FC236}">
                <a16:creationId xmlns:a16="http://schemas.microsoft.com/office/drawing/2014/main" id="{6105EC4C-205A-AE42-AC77-45023A8CB0A6}"/>
              </a:ext>
            </a:extLst>
          </p:cNvPr>
          <p:cNvSpPr>
            <a:spLocks noGrp="1"/>
          </p:cNvSpPr>
          <p:nvPr>
            <p:ph type="dt" sz="half" idx="15"/>
          </p:nvPr>
        </p:nvSpPr>
        <p:spPr/>
        <p:txBody>
          <a:bodyPr/>
          <a:lstStyle/>
          <a:p>
            <a:fld id="{B95440ED-8C89-4301-B204-2D326E26EA6F}" type="datetime1">
              <a:rPr lang="en-GB" smtClean="0"/>
              <a:t>31/07/2023</a:t>
            </a:fld>
            <a:endParaRPr lang="en-GB" dirty="0"/>
          </a:p>
        </p:txBody>
      </p:sp>
      <p:sp>
        <p:nvSpPr>
          <p:cNvPr id="11" name="Footer Placeholder 10">
            <a:extLst>
              <a:ext uri="{FF2B5EF4-FFF2-40B4-BE49-F238E27FC236}">
                <a16:creationId xmlns:a16="http://schemas.microsoft.com/office/drawing/2014/main" id="{B0B0CA08-E061-255E-37AD-C77C63384A76}"/>
              </a:ext>
            </a:extLst>
          </p:cNvPr>
          <p:cNvSpPr>
            <a:spLocks noGrp="1"/>
          </p:cNvSpPr>
          <p:nvPr>
            <p:ph type="ftr" sz="quarter" idx="16"/>
          </p:nvPr>
        </p:nvSpPr>
        <p:spPr/>
        <p:txBody>
          <a:bodyPr/>
          <a:lstStyle/>
          <a:p>
            <a:r>
              <a:rPr lang="en-GB"/>
              <a:t>To add a Footer, select 'Insert &gt; Header &amp; Footer'</a:t>
            </a:r>
            <a:endParaRPr lang="en-GB" dirty="0"/>
          </a:p>
        </p:txBody>
      </p:sp>
      <p:sp>
        <p:nvSpPr>
          <p:cNvPr id="12" name="Slide Number Placeholder 11">
            <a:extLst>
              <a:ext uri="{FF2B5EF4-FFF2-40B4-BE49-F238E27FC236}">
                <a16:creationId xmlns:a16="http://schemas.microsoft.com/office/drawing/2014/main" id="{C310BF31-A4C3-377B-AEC6-33F3A1A293F1}"/>
              </a:ext>
            </a:extLst>
          </p:cNvPr>
          <p:cNvSpPr>
            <a:spLocks noGrp="1"/>
          </p:cNvSpPr>
          <p:nvPr>
            <p:ph type="sldNum" sz="quarter" idx="17"/>
          </p:nvPr>
        </p:nvSpPr>
        <p:spPr/>
        <p:txBody>
          <a:bodyPr/>
          <a:lstStyle/>
          <a:p>
            <a:r>
              <a:rPr lang="en-GB"/>
              <a:t>Page </a:t>
            </a:r>
            <a:fld id="{F5AEA0E0-5CC6-4BD0-905C-A0021E419432}" type="slidenum">
              <a:rPr lang="en-GB" smtClean="0"/>
              <a:pPr/>
              <a:t>‹#›</a:t>
            </a:fld>
            <a:endParaRPr lang="en-GB" dirty="0"/>
          </a:p>
        </p:txBody>
      </p:sp>
      <p:sp>
        <p:nvSpPr>
          <p:cNvPr id="4" name="Text Placeholder 3">
            <a:extLst>
              <a:ext uri="{FF2B5EF4-FFF2-40B4-BE49-F238E27FC236}">
                <a16:creationId xmlns:a16="http://schemas.microsoft.com/office/drawing/2014/main" id="{2D2EE1AF-A60C-0DAE-29BA-0F1D2FBF76CB}"/>
              </a:ext>
            </a:extLst>
          </p:cNvPr>
          <p:cNvSpPr>
            <a:spLocks noGrp="1"/>
          </p:cNvSpPr>
          <p:nvPr>
            <p:ph type="body" sz="quarter" idx="18" hasCustomPrompt="1"/>
          </p:nvPr>
        </p:nvSpPr>
        <p:spPr>
          <a:xfrm>
            <a:off x="568001" y="1805399"/>
            <a:ext cx="8208282" cy="595250"/>
          </a:xfrm>
        </p:spPr>
        <p:txBody>
          <a:bodyPr/>
          <a:lstStyle>
            <a:lvl1pPr>
              <a:defRPr/>
            </a:lvl1pPr>
          </a:lstStyle>
          <a:p>
            <a:pPr lvl="0"/>
            <a:r>
              <a:rPr lang="en-GB" dirty="0"/>
              <a:t>Click to add text</a:t>
            </a:r>
            <a:endParaRPr lang="en-AU" dirty="0"/>
          </a:p>
        </p:txBody>
      </p:sp>
    </p:spTree>
    <p:extLst>
      <p:ext uri="{BB962C8B-B14F-4D97-AF65-F5344CB8AC3E}">
        <p14:creationId xmlns:p14="http://schemas.microsoft.com/office/powerpoint/2010/main" val="11286523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and imag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0DFAE338-542F-062A-113E-84D5DEAC9297}"/>
              </a:ext>
            </a:extLst>
          </p:cNvPr>
          <p:cNvSpPr>
            <a:spLocks noGrp="1" noChangeAspect="1"/>
          </p:cNvSpPr>
          <p:nvPr>
            <p:ph type="pic" sz="quarter" idx="14" hasCustomPrompt="1"/>
          </p:nvPr>
        </p:nvSpPr>
        <p:spPr>
          <a:xfrm>
            <a:off x="5665175" y="1580922"/>
            <a:ext cx="5020260" cy="5281729"/>
          </a:xfrm>
          <a:custGeom>
            <a:avLst/>
            <a:gdLst>
              <a:gd name="connsiteX0" fmla="*/ 2272483 w 4293496"/>
              <a:gd name="connsiteY0" fmla="*/ 0 h 4791489"/>
              <a:gd name="connsiteX1" fmla="*/ 4293496 w 4293496"/>
              <a:gd name="connsiteY1" fmla="*/ 0 h 4791489"/>
              <a:gd name="connsiteX2" fmla="*/ 4293496 w 4293496"/>
              <a:gd name="connsiteY2" fmla="*/ 4791489 h 4791489"/>
              <a:gd name="connsiteX3" fmla="*/ 0 w 4293496"/>
              <a:gd name="connsiteY3" fmla="*/ 4791489 h 4791489"/>
            </a:gdLst>
            <a:ahLst/>
            <a:cxnLst>
              <a:cxn ang="0">
                <a:pos x="connsiteX0" y="connsiteY0"/>
              </a:cxn>
              <a:cxn ang="0">
                <a:pos x="connsiteX1" y="connsiteY1"/>
              </a:cxn>
              <a:cxn ang="0">
                <a:pos x="connsiteX2" y="connsiteY2"/>
              </a:cxn>
              <a:cxn ang="0">
                <a:pos x="connsiteX3" y="connsiteY3"/>
              </a:cxn>
            </a:cxnLst>
            <a:rect l="l" t="t" r="r" b="b"/>
            <a:pathLst>
              <a:path w="4293496" h="4791489">
                <a:moveTo>
                  <a:pt x="2272483" y="0"/>
                </a:moveTo>
                <a:lnTo>
                  <a:pt x="4293496" y="0"/>
                </a:lnTo>
                <a:lnTo>
                  <a:pt x="4293496" y="4791489"/>
                </a:lnTo>
                <a:lnTo>
                  <a:pt x="0" y="4791489"/>
                </a:lnTo>
                <a:close/>
              </a:path>
            </a:pathLst>
          </a:custGeom>
          <a:solidFill>
            <a:schemeClr val="bg1">
              <a:lumMod val="75000"/>
            </a:schemeClr>
          </a:solidFill>
        </p:spPr>
        <p:txBody>
          <a:bodyPr wrap="square" lIns="2520000" tIns="288000" rIns="360000" bIns="360000" anchor="t" anchorCtr="0">
            <a:noAutofit/>
          </a:bodyPr>
          <a:lstStyle>
            <a:lvl1pPr algn="r">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10" name="Text Placeholder 8">
            <a:extLst>
              <a:ext uri="{FF2B5EF4-FFF2-40B4-BE49-F238E27FC236}">
                <a16:creationId xmlns:a16="http://schemas.microsoft.com/office/drawing/2014/main" id="{3399DAD4-A874-4EAB-AB3C-820568E6E783}"/>
              </a:ext>
            </a:extLst>
          </p:cNvPr>
          <p:cNvSpPr>
            <a:spLocks noGrp="1"/>
          </p:cNvSpPr>
          <p:nvPr>
            <p:ph type="body" sz="quarter" idx="13"/>
          </p:nvPr>
        </p:nvSpPr>
        <p:spPr>
          <a:xfrm>
            <a:off x="568000" y="2012413"/>
            <a:ext cx="6945469" cy="4365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Title 2">
            <a:extLst>
              <a:ext uri="{FF2B5EF4-FFF2-40B4-BE49-F238E27FC236}">
                <a16:creationId xmlns:a16="http://schemas.microsoft.com/office/drawing/2014/main" id="{564EBA4A-B347-103C-AA7B-74A81B6E6CA7}"/>
              </a:ext>
            </a:extLst>
          </p:cNvPr>
          <p:cNvSpPr>
            <a:spLocks noGrp="1"/>
          </p:cNvSpPr>
          <p:nvPr>
            <p:ph type="title"/>
          </p:nvPr>
        </p:nvSpPr>
        <p:spPr>
          <a:xfrm>
            <a:off x="568000" y="423804"/>
            <a:ext cx="6945469" cy="793667"/>
          </a:xfrm>
        </p:spPr>
        <p:txBody>
          <a:bodyPr/>
          <a:lstStyle/>
          <a:p>
            <a:r>
              <a:rPr lang="en-US"/>
              <a:t>Click to edit Master title style</a:t>
            </a:r>
            <a:endParaRPr lang="en-AU" dirty="0"/>
          </a:p>
        </p:txBody>
      </p:sp>
      <p:sp>
        <p:nvSpPr>
          <p:cNvPr id="11" name="Text Placeholder 10">
            <a:extLst>
              <a:ext uri="{FF2B5EF4-FFF2-40B4-BE49-F238E27FC236}">
                <a16:creationId xmlns:a16="http://schemas.microsoft.com/office/drawing/2014/main" id="{3B49C342-B9AA-BE4C-DBA6-A414FD6F6656}"/>
              </a:ext>
            </a:extLst>
          </p:cNvPr>
          <p:cNvSpPr>
            <a:spLocks noGrp="1"/>
          </p:cNvSpPr>
          <p:nvPr>
            <p:ph type="body" sz="quarter" idx="16"/>
          </p:nvPr>
        </p:nvSpPr>
        <p:spPr>
          <a:xfrm>
            <a:off x="9399417" y="4302722"/>
            <a:ext cx="1286018" cy="2559928"/>
          </a:xfrm>
          <a:custGeom>
            <a:avLst/>
            <a:gdLst>
              <a:gd name="connsiteX0" fmla="*/ 1099846 w 1099846"/>
              <a:gd name="connsiteY0" fmla="*/ 0 h 2322320"/>
              <a:gd name="connsiteX1" fmla="*/ 1099846 w 1099846"/>
              <a:gd name="connsiteY1" fmla="*/ 2322320 h 2322320"/>
              <a:gd name="connsiteX2" fmla="*/ 0 w 1099846"/>
              <a:gd name="connsiteY2" fmla="*/ 2322320 h 2322320"/>
            </a:gdLst>
            <a:ahLst/>
            <a:cxnLst>
              <a:cxn ang="0">
                <a:pos x="connsiteX0" y="connsiteY0"/>
              </a:cxn>
              <a:cxn ang="0">
                <a:pos x="connsiteX1" y="connsiteY1"/>
              </a:cxn>
              <a:cxn ang="0">
                <a:pos x="connsiteX2" y="connsiteY2"/>
              </a:cxn>
            </a:cxnLst>
            <a:rect l="l" t="t" r="r" b="b"/>
            <a:pathLst>
              <a:path w="1099846" h="2322320">
                <a:moveTo>
                  <a:pt x="1099846" y="0"/>
                </a:moveTo>
                <a:lnTo>
                  <a:pt x="1099846" y="2322320"/>
                </a:lnTo>
                <a:lnTo>
                  <a:pt x="0" y="2322320"/>
                </a:lnTo>
                <a:close/>
              </a:path>
            </a:pathLst>
          </a:custGeom>
          <a:solidFill>
            <a:schemeClr val="tx2">
              <a:alpha val="65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9" name="Date Placeholder 38">
            <a:extLst>
              <a:ext uri="{FF2B5EF4-FFF2-40B4-BE49-F238E27FC236}">
                <a16:creationId xmlns:a16="http://schemas.microsoft.com/office/drawing/2014/main" id="{F698BA25-4BD0-67D4-7C71-C0E01B8EC811}"/>
              </a:ext>
            </a:extLst>
          </p:cNvPr>
          <p:cNvSpPr>
            <a:spLocks noGrp="1"/>
          </p:cNvSpPr>
          <p:nvPr>
            <p:ph type="dt" sz="half" idx="17"/>
          </p:nvPr>
        </p:nvSpPr>
        <p:spPr/>
        <p:txBody>
          <a:bodyPr/>
          <a:lstStyle/>
          <a:p>
            <a:fld id="{920A0E56-D0C5-4B3E-813B-A90A31A1DAA6}" type="datetime1">
              <a:rPr lang="en-GB" smtClean="0"/>
              <a:t>31/07/2023</a:t>
            </a:fld>
            <a:endParaRPr lang="en-GB" dirty="0"/>
          </a:p>
        </p:txBody>
      </p:sp>
      <p:sp>
        <p:nvSpPr>
          <p:cNvPr id="40" name="Footer Placeholder 39">
            <a:extLst>
              <a:ext uri="{FF2B5EF4-FFF2-40B4-BE49-F238E27FC236}">
                <a16:creationId xmlns:a16="http://schemas.microsoft.com/office/drawing/2014/main" id="{9C50C287-886F-8EE0-566B-F65B7FD7A54F}"/>
              </a:ext>
            </a:extLst>
          </p:cNvPr>
          <p:cNvSpPr>
            <a:spLocks noGrp="1"/>
          </p:cNvSpPr>
          <p:nvPr>
            <p:ph type="ftr" sz="quarter" idx="18"/>
          </p:nvPr>
        </p:nvSpPr>
        <p:spPr/>
        <p:txBody>
          <a:bodyPr/>
          <a:lstStyle/>
          <a:p>
            <a:r>
              <a:rPr lang="en-GB"/>
              <a:t>To add a Footer, select 'Insert &gt; Header &amp; Footer'</a:t>
            </a:r>
            <a:endParaRPr lang="en-GB" dirty="0"/>
          </a:p>
        </p:txBody>
      </p:sp>
      <p:sp>
        <p:nvSpPr>
          <p:cNvPr id="41" name="Slide Number Placeholder 40">
            <a:extLst>
              <a:ext uri="{FF2B5EF4-FFF2-40B4-BE49-F238E27FC236}">
                <a16:creationId xmlns:a16="http://schemas.microsoft.com/office/drawing/2014/main" id="{ECB20DFD-4DFE-0F76-52E2-4F336B547E1E}"/>
              </a:ext>
            </a:extLst>
          </p:cNvPr>
          <p:cNvSpPr>
            <a:spLocks noGrp="1"/>
          </p:cNvSpPr>
          <p:nvPr>
            <p:ph type="sldNum" sz="quarter" idx="19"/>
          </p:nvPr>
        </p:nvSpPr>
        <p:spPr/>
        <p:txBody>
          <a:bodyPr/>
          <a:lstStyle/>
          <a:p>
            <a:r>
              <a:rPr lang="en-GB"/>
              <a:t>Page </a:t>
            </a:r>
            <a:fld id="{F5AEA0E0-5CC6-4BD0-905C-A0021E419432}" type="slidenum">
              <a:rPr lang="en-GB" smtClean="0"/>
              <a:pPr/>
              <a:t>‹#›</a:t>
            </a:fld>
            <a:endParaRPr lang="en-GB" dirty="0"/>
          </a:p>
        </p:txBody>
      </p:sp>
    </p:spTree>
    <p:extLst>
      <p:ext uri="{BB962C8B-B14F-4D97-AF65-F5344CB8AC3E}">
        <p14:creationId xmlns:p14="http://schemas.microsoft.com/office/powerpoint/2010/main" val="2956978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laarge image">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4F04595-8F0F-9159-49EE-2EF24C129E8A}"/>
              </a:ext>
            </a:extLst>
          </p:cNvPr>
          <p:cNvSpPr>
            <a:spLocks noGrp="1" noChangeAspect="1"/>
          </p:cNvSpPr>
          <p:nvPr>
            <p:ph type="pic" sz="quarter" idx="14" hasCustomPrompt="1"/>
          </p:nvPr>
        </p:nvSpPr>
        <p:spPr>
          <a:xfrm>
            <a:off x="0" y="1580922"/>
            <a:ext cx="10691813" cy="5271343"/>
          </a:xfrm>
          <a:prstGeom prst="rect">
            <a:avLst/>
          </a:prstGeom>
          <a:solidFill>
            <a:schemeClr val="bg1">
              <a:lumMod val="75000"/>
            </a:schemeClr>
          </a:solidFill>
        </p:spPr>
        <p:txBody>
          <a:bodyPr wrap="square" lIns="648000" tIns="288000" rIns="4320000" bIns="360000" anchor="t" anchorCtr="0">
            <a:noAutofit/>
          </a:bodyPr>
          <a:lstStyle>
            <a:lvl1pPr algn="l">
              <a:defRPr sz="1543" b="0">
                <a:solidFill>
                  <a:schemeClr val="bg1"/>
                </a:solidFill>
                <a:latin typeface="+mj-lt"/>
                <a:ea typeface="Roboto" panose="02000000000000000000" pitchFamily="2" charset="0"/>
              </a:defRPr>
            </a:lvl1pPr>
            <a:lvl2pPr algn="ctr">
              <a:defRPr b="0">
                <a:solidFill>
                  <a:schemeClr val="accent2"/>
                </a:solidFill>
                <a:latin typeface="Roboto" panose="02000000000000000000" pitchFamily="2" charset="0"/>
                <a:ea typeface="Roboto" panose="02000000000000000000" pitchFamily="2" charset="0"/>
              </a:defRPr>
            </a:lvl2pPr>
          </a:lstStyle>
          <a:p>
            <a:r>
              <a:rPr lang="en-AU" dirty="0"/>
              <a:t>To insert an image, select ‘Insert Picture’, or click on icon. Select ‘Picture Format &gt; Crop’ to edit size and position of picture.</a:t>
            </a:r>
          </a:p>
        </p:txBody>
      </p:sp>
      <p:sp>
        <p:nvSpPr>
          <p:cNvPr id="3" name="Title 2">
            <a:extLst>
              <a:ext uri="{FF2B5EF4-FFF2-40B4-BE49-F238E27FC236}">
                <a16:creationId xmlns:a16="http://schemas.microsoft.com/office/drawing/2014/main" id="{564EBA4A-B347-103C-AA7B-74A81B6E6CA7}"/>
              </a:ext>
            </a:extLst>
          </p:cNvPr>
          <p:cNvSpPr>
            <a:spLocks noGrp="1"/>
          </p:cNvSpPr>
          <p:nvPr>
            <p:ph type="title"/>
          </p:nvPr>
        </p:nvSpPr>
        <p:spPr>
          <a:xfrm>
            <a:off x="568001" y="423804"/>
            <a:ext cx="4419844" cy="793667"/>
          </a:xfrm>
        </p:spPr>
        <p:txBody>
          <a:bodyPr/>
          <a:lstStyle/>
          <a:p>
            <a:r>
              <a:rPr lang="en-US"/>
              <a:t>Click to edit Master title style</a:t>
            </a:r>
            <a:endParaRPr lang="en-AU" dirty="0"/>
          </a:p>
        </p:txBody>
      </p:sp>
      <p:sp>
        <p:nvSpPr>
          <p:cNvPr id="2" name="Date Placeholder 1">
            <a:extLst>
              <a:ext uri="{FF2B5EF4-FFF2-40B4-BE49-F238E27FC236}">
                <a16:creationId xmlns:a16="http://schemas.microsoft.com/office/drawing/2014/main" id="{029D1A89-6D04-E6B7-642A-FC4A5D65F2FE}"/>
              </a:ext>
            </a:extLst>
          </p:cNvPr>
          <p:cNvSpPr>
            <a:spLocks noGrp="1"/>
          </p:cNvSpPr>
          <p:nvPr>
            <p:ph type="dt" sz="half" idx="17"/>
          </p:nvPr>
        </p:nvSpPr>
        <p:spPr/>
        <p:txBody>
          <a:bodyPr/>
          <a:lstStyle>
            <a:lvl1pPr>
              <a:defRPr>
                <a:solidFill>
                  <a:schemeClr val="accent6"/>
                </a:solidFill>
              </a:defRPr>
            </a:lvl1pPr>
          </a:lstStyle>
          <a:p>
            <a:fld id="{3C048CFF-D5A4-4BED-AD1A-14E8D2CBA798}" type="datetime1">
              <a:rPr lang="en-GB" smtClean="0"/>
              <a:pPr/>
              <a:t>31/07/2023</a:t>
            </a:fld>
            <a:endParaRPr lang="en-GB" dirty="0"/>
          </a:p>
        </p:txBody>
      </p:sp>
      <p:sp>
        <p:nvSpPr>
          <p:cNvPr id="4" name="Footer Placeholder 3">
            <a:extLst>
              <a:ext uri="{FF2B5EF4-FFF2-40B4-BE49-F238E27FC236}">
                <a16:creationId xmlns:a16="http://schemas.microsoft.com/office/drawing/2014/main" id="{EF0ACF10-A8A1-158D-77C0-F1470495E064}"/>
              </a:ext>
            </a:extLst>
          </p:cNvPr>
          <p:cNvSpPr>
            <a:spLocks noGrp="1"/>
          </p:cNvSpPr>
          <p:nvPr>
            <p:ph type="ftr" sz="quarter" idx="18"/>
          </p:nvPr>
        </p:nvSpPr>
        <p:spPr/>
        <p:txBody>
          <a:bodyPr/>
          <a:lstStyle>
            <a:lvl1pPr>
              <a:defRPr>
                <a:solidFill>
                  <a:schemeClr val="accent6"/>
                </a:solidFill>
              </a:defRPr>
            </a:lvl1pPr>
          </a:lstStyle>
          <a:p>
            <a:r>
              <a:rPr lang="en-GB"/>
              <a:t>To add a Footer, select 'Insert &gt; Header &amp; Footer'</a:t>
            </a:r>
            <a:endParaRPr lang="en-GB" dirty="0"/>
          </a:p>
        </p:txBody>
      </p:sp>
      <p:sp>
        <p:nvSpPr>
          <p:cNvPr id="8" name="Slide Number Placeholder 7">
            <a:extLst>
              <a:ext uri="{FF2B5EF4-FFF2-40B4-BE49-F238E27FC236}">
                <a16:creationId xmlns:a16="http://schemas.microsoft.com/office/drawing/2014/main" id="{17DED0C4-FEDA-7F07-651E-81D65BEE7C93}"/>
              </a:ext>
            </a:extLst>
          </p:cNvPr>
          <p:cNvSpPr>
            <a:spLocks noGrp="1"/>
          </p:cNvSpPr>
          <p:nvPr>
            <p:ph type="sldNum" sz="quarter" idx="19"/>
          </p:nvPr>
        </p:nvSpPr>
        <p:spPr/>
        <p:txBody>
          <a:bodyPr/>
          <a:lstStyle>
            <a:lvl1pPr>
              <a:defRPr>
                <a:solidFill>
                  <a:schemeClr val="accent6"/>
                </a:solidFill>
              </a:defRPr>
            </a:lvl1pPr>
          </a:lstStyle>
          <a:p>
            <a:r>
              <a:rPr lang="en-GB"/>
              <a:t>Page </a:t>
            </a:r>
            <a:fld id="{F5AEA0E0-5CC6-4BD0-905C-A0021E419432}" type="slidenum">
              <a:rPr lang="en-GB" smtClean="0"/>
              <a:pPr/>
              <a:t>‹#›</a:t>
            </a:fld>
            <a:endParaRPr lang="en-GB" dirty="0"/>
          </a:p>
        </p:txBody>
      </p:sp>
      <p:sp>
        <p:nvSpPr>
          <p:cNvPr id="7" name="Text Placeholder 6">
            <a:extLst>
              <a:ext uri="{FF2B5EF4-FFF2-40B4-BE49-F238E27FC236}">
                <a16:creationId xmlns:a16="http://schemas.microsoft.com/office/drawing/2014/main" id="{F2C391D5-CDF7-2EA7-BE15-53AD611FD5D2}"/>
              </a:ext>
            </a:extLst>
          </p:cNvPr>
          <p:cNvSpPr>
            <a:spLocks noGrp="1"/>
          </p:cNvSpPr>
          <p:nvPr>
            <p:ph type="body" sz="quarter" idx="16"/>
          </p:nvPr>
        </p:nvSpPr>
        <p:spPr>
          <a:xfrm>
            <a:off x="5665175" y="1580922"/>
            <a:ext cx="5020260" cy="5281729"/>
          </a:xfrm>
          <a:custGeom>
            <a:avLst/>
            <a:gdLst>
              <a:gd name="connsiteX0" fmla="*/ 2272483 w 4293496"/>
              <a:gd name="connsiteY0" fmla="*/ 0 h 4791489"/>
              <a:gd name="connsiteX1" fmla="*/ 4293496 w 4293496"/>
              <a:gd name="connsiteY1" fmla="*/ 0 h 4791489"/>
              <a:gd name="connsiteX2" fmla="*/ 4293496 w 4293496"/>
              <a:gd name="connsiteY2" fmla="*/ 4791489 h 4791489"/>
              <a:gd name="connsiteX3" fmla="*/ 0 w 4293496"/>
              <a:gd name="connsiteY3" fmla="*/ 4791489 h 4791489"/>
            </a:gdLst>
            <a:ahLst/>
            <a:cxnLst>
              <a:cxn ang="0">
                <a:pos x="connsiteX0" y="connsiteY0"/>
              </a:cxn>
              <a:cxn ang="0">
                <a:pos x="connsiteX1" y="connsiteY1"/>
              </a:cxn>
              <a:cxn ang="0">
                <a:pos x="connsiteX2" y="connsiteY2"/>
              </a:cxn>
              <a:cxn ang="0">
                <a:pos x="connsiteX3" y="connsiteY3"/>
              </a:cxn>
            </a:cxnLst>
            <a:rect l="l" t="t" r="r" b="b"/>
            <a:pathLst>
              <a:path w="4293496" h="4791489">
                <a:moveTo>
                  <a:pt x="2272483" y="0"/>
                </a:moveTo>
                <a:lnTo>
                  <a:pt x="4293496" y="0"/>
                </a:lnTo>
                <a:lnTo>
                  <a:pt x="4293496" y="4791489"/>
                </a:lnTo>
                <a:lnTo>
                  <a:pt x="0" y="4791489"/>
                </a:lnTo>
                <a:close/>
              </a:path>
            </a:pathLst>
          </a:custGeom>
          <a:solidFill>
            <a:schemeClr val="tx2">
              <a:alpha val="65000"/>
            </a:schemeClr>
          </a:solidFill>
        </p:spPr>
        <p:txBody>
          <a:bodyPr wrap="square">
            <a:noAutofit/>
          </a:bodyPr>
          <a:lstStyle>
            <a:lvl1pPr>
              <a:spcBef>
                <a:spcPts val="0"/>
              </a:spcBef>
              <a:defRPr sz="441">
                <a:noFill/>
              </a:defRPr>
            </a:lvl1pPr>
            <a:lvl2pPr marL="0" indent="0">
              <a:spcBef>
                <a:spcPts val="0"/>
              </a:spcBef>
              <a:buNone/>
              <a:defRPr sz="441">
                <a:noFill/>
              </a:defRPr>
            </a:lvl2pPr>
            <a:lvl3pPr marL="0" indent="0">
              <a:spcBef>
                <a:spcPts val="0"/>
              </a:spcBef>
              <a:buNone/>
              <a:defRPr sz="441">
                <a:noFill/>
              </a:defRPr>
            </a:lvl3pPr>
            <a:lvl4pPr>
              <a:spcBef>
                <a:spcPts val="0"/>
              </a:spcBef>
              <a:defRPr sz="441" b="0">
                <a:noFill/>
              </a:defRPr>
            </a:lvl4pPr>
            <a:lvl5pPr>
              <a:spcBef>
                <a:spcPts val="0"/>
              </a:spcBef>
              <a:defRPr sz="441">
                <a:noFill/>
              </a:defRPr>
            </a:lvl5pPr>
            <a:lvl6pPr>
              <a:spcBef>
                <a:spcPts val="0"/>
              </a:spcBef>
              <a:defRPr sz="441">
                <a:noFill/>
              </a:defRPr>
            </a:lvl6pPr>
            <a:lvl7pPr>
              <a:spcBef>
                <a:spcPts val="0"/>
              </a:spcBef>
              <a:defRPr sz="441">
                <a:noFill/>
              </a:defRPr>
            </a:lvl7pPr>
            <a:lvl8pPr>
              <a:spcBef>
                <a:spcPts val="0"/>
              </a:spcBef>
              <a:defRPr sz="441">
                <a:noFill/>
              </a:defRPr>
            </a:lvl8pPr>
            <a:lvl9pPr>
              <a:spcBef>
                <a:spcPts val="0"/>
              </a:spcBef>
              <a:defRPr sz="441">
                <a:no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21982028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7AD34C0-2B69-0CD4-3E46-603BBC6C59EF}"/>
              </a:ext>
            </a:extLst>
          </p:cNvPr>
          <p:cNvGraphicFramePr>
            <a:graphicFrameLocks noChangeAspect="1"/>
          </p:cNvGraphicFramePr>
          <p:nvPr userDrawn="1">
            <p:custDataLst>
              <p:tags r:id="rId26"/>
            </p:custDataLst>
            <p:extLst>
              <p:ext uri="{D42A27DB-BD31-4B8C-83A1-F6EECF244321}">
                <p14:modId xmlns:p14="http://schemas.microsoft.com/office/powerpoint/2010/main" val="1000056736"/>
              </p:ext>
            </p:extLst>
          </p:nvPr>
        </p:nvGraphicFramePr>
        <p:xfrm>
          <a:off x="1857" y="1751"/>
          <a:ext cx="1857" cy="1750"/>
        </p:xfrm>
        <a:graphic>
          <a:graphicData uri="http://schemas.openxmlformats.org/presentationml/2006/ole">
            <mc:AlternateContent xmlns:mc="http://schemas.openxmlformats.org/markup-compatibility/2006">
              <mc:Choice xmlns:v="urn:schemas-microsoft-com:vml" Requires="v">
                <p:oleObj name="think-cell Slide" r:id="rId27" imgW="328" imgH="328" progId="TCLayout.ActiveDocument.1">
                  <p:embed/>
                </p:oleObj>
              </mc:Choice>
              <mc:Fallback>
                <p:oleObj name="think-cell Slide" r:id="rId27" imgW="328" imgH="328" progId="TCLayout.ActiveDocument.1">
                  <p:embed/>
                  <p:pic>
                    <p:nvPicPr>
                      <p:cNvPr id="9" name="Object 8" hidden="1">
                        <a:extLst>
                          <a:ext uri="{FF2B5EF4-FFF2-40B4-BE49-F238E27FC236}">
                            <a16:creationId xmlns:a16="http://schemas.microsoft.com/office/drawing/2014/main" id="{67AD34C0-2B69-0CD4-3E46-603BBC6C59EF}"/>
                          </a:ext>
                        </a:extLst>
                      </p:cNvPr>
                      <p:cNvPicPr/>
                      <p:nvPr/>
                    </p:nvPicPr>
                    <p:blipFill>
                      <a:blip r:embed="rId28"/>
                      <a:stretch>
                        <a:fillRect/>
                      </a:stretch>
                    </p:blipFill>
                    <p:spPr>
                      <a:xfrm>
                        <a:off x="1857" y="1751"/>
                        <a:ext cx="1857" cy="1750"/>
                      </a:xfrm>
                      <a:prstGeom prst="rect">
                        <a:avLst/>
                      </a:prstGeom>
                    </p:spPr>
                  </p:pic>
                </p:oleObj>
              </mc:Fallback>
            </mc:AlternateContent>
          </a:graphicData>
        </a:graphic>
      </p:graphicFrame>
      <p:sp>
        <p:nvSpPr>
          <p:cNvPr id="38" name="Free-form: Shape 37">
            <a:extLst>
              <a:ext uri="{FF2B5EF4-FFF2-40B4-BE49-F238E27FC236}">
                <a16:creationId xmlns:a16="http://schemas.microsoft.com/office/drawing/2014/main" id="{DEE5F1F6-308B-BAE5-E04C-67ACD64873A7}"/>
              </a:ext>
            </a:extLst>
          </p:cNvPr>
          <p:cNvSpPr/>
          <p:nvPr userDrawn="1"/>
        </p:nvSpPr>
        <p:spPr>
          <a:xfrm>
            <a:off x="0" y="0"/>
            <a:ext cx="10691813" cy="1587333"/>
          </a:xfrm>
          <a:custGeom>
            <a:avLst/>
            <a:gdLst>
              <a:gd name="connsiteX0" fmla="*/ 0 w 12192000"/>
              <a:gd name="connsiteY0" fmla="*/ 0 h 1270000"/>
              <a:gd name="connsiteX1" fmla="*/ 12192000 w 12192000"/>
              <a:gd name="connsiteY1" fmla="*/ 0 h 1270000"/>
              <a:gd name="connsiteX2" fmla="*/ 12192000 w 12192000"/>
              <a:gd name="connsiteY2" fmla="*/ 1270000 h 1270000"/>
              <a:gd name="connsiteX3" fmla="*/ 0 w 121920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12192000" h="1270000">
                <a:moveTo>
                  <a:pt x="0" y="0"/>
                </a:moveTo>
                <a:lnTo>
                  <a:pt x="12192000" y="0"/>
                </a:lnTo>
                <a:lnTo>
                  <a:pt x="12192000" y="1270000"/>
                </a:lnTo>
                <a:lnTo>
                  <a:pt x="0" y="1270000"/>
                </a:lnTo>
                <a:close/>
              </a:path>
            </a:pathLst>
          </a:custGeom>
          <a:solidFill>
            <a:srgbClr val="E0EDF8"/>
          </a:solidFill>
          <a:ln w="6350" cap="flat">
            <a:noFill/>
            <a:prstDash val="solid"/>
            <a:miter/>
          </a:ln>
        </p:spPr>
        <p:txBody>
          <a:bodyPr rtlCol="0" anchor="ctr"/>
          <a:lstStyle/>
          <a:p>
            <a:endParaRPr lang="en-AU" sz="1984"/>
          </a:p>
        </p:txBody>
      </p:sp>
      <p:grpSp>
        <p:nvGrpSpPr>
          <p:cNvPr id="11" name="Group 10">
            <a:extLst>
              <a:ext uri="{FF2B5EF4-FFF2-40B4-BE49-F238E27FC236}">
                <a16:creationId xmlns:a16="http://schemas.microsoft.com/office/drawing/2014/main" id="{C0F69CC5-725A-DC9C-EE57-E4195036E597}"/>
              </a:ext>
            </a:extLst>
          </p:cNvPr>
          <p:cNvGrpSpPr/>
          <p:nvPr userDrawn="1"/>
        </p:nvGrpSpPr>
        <p:grpSpPr>
          <a:xfrm>
            <a:off x="8321427" y="0"/>
            <a:ext cx="2370387" cy="1587333"/>
            <a:chOff x="7792497" y="1"/>
            <a:chExt cx="1351502" cy="1269998"/>
          </a:xfrm>
        </p:grpSpPr>
        <p:sp>
          <p:nvSpPr>
            <p:cNvPr id="39" name="Free-form: Shape 38">
              <a:extLst>
                <a:ext uri="{FF2B5EF4-FFF2-40B4-BE49-F238E27FC236}">
                  <a16:creationId xmlns:a16="http://schemas.microsoft.com/office/drawing/2014/main" id="{ACD74EFB-1EB2-C902-2EB7-7A5AC47A3130}"/>
                </a:ext>
              </a:extLst>
            </p:cNvPr>
            <p:cNvSpPr/>
            <p:nvPr userDrawn="1"/>
          </p:nvSpPr>
          <p:spPr>
            <a:xfrm>
              <a:off x="7792497" y="600837"/>
              <a:ext cx="712232" cy="669162"/>
            </a:xfrm>
            <a:custGeom>
              <a:avLst/>
              <a:gdLst>
                <a:gd name="connsiteX0" fmla="*/ 316547 w 949642"/>
                <a:gd name="connsiteY0" fmla="*/ 0 h 669162"/>
                <a:gd name="connsiteX1" fmla="*/ 0 w 949642"/>
                <a:gd name="connsiteY1" fmla="*/ 669163 h 669162"/>
                <a:gd name="connsiteX2" fmla="*/ 633095 w 949642"/>
                <a:gd name="connsiteY2" fmla="*/ 669163 h 669162"/>
                <a:gd name="connsiteX3" fmla="*/ 949643 w 949642"/>
                <a:gd name="connsiteY3" fmla="*/ 0 h 669162"/>
                <a:gd name="connsiteX4" fmla="*/ 316547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316547" y="0"/>
                  </a:moveTo>
                  <a:lnTo>
                    <a:pt x="0" y="669163"/>
                  </a:lnTo>
                  <a:lnTo>
                    <a:pt x="633095" y="669163"/>
                  </a:lnTo>
                  <a:cubicBezTo>
                    <a:pt x="633095" y="669163"/>
                    <a:pt x="949643" y="0"/>
                    <a:pt x="949643" y="0"/>
                  </a:cubicBezTo>
                  <a:lnTo>
                    <a:pt x="316547" y="0"/>
                  </a:lnTo>
                  <a:close/>
                </a:path>
              </a:pathLst>
            </a:custGeom>
            <a:solidFill>
              <a:srgbClr val="00B1A8"/>
            </a:solidFill>
            <a:ln w="6350" cap="flat">
              <a:noFill/>
              <a:prstDash val="solid"/>
              <a:miter/>
            </a:ln>
          </p:spPr>
          <p:txBody>
            <a:bodyPr rtlCol="0" anchor="ctr"/>
            <a:lstStyle/>
            <a:p>
              <a:endParaRPr lang="en-AU" sz="1984"/>
            </a:p>
          </p:txBody>
        </p:sp>
        <p:sp>
          <p:nvSpPr>
            <p:cNvPr id="40" name="Free-form: Shape 39">
              <a:extLst>
                <a:ext uri="{FF2B5EF4-FFF2-40B4-BE49-F238E27FC236}">
                  <a16:creationId xmlns:a16="http://schemas.microsoft.com/office/drawing/2014/main" id="{E7241B76-7122-AE56-0EFB-6DFFD069ADBB}"/>
                </a:ext>
              </a:extLst>
            </p:cNvPr>
            <p:cNvSpPr/>
            <p:nvPr userDrawn="1"/>
          </p:nvSpPr>
          <p:spPr>
            <a:xfrm>
              <a:off x="8504777" y="1"/>
              <a:ext cx="639222" cy="600837"/>
            </a:xfrm>
            <a:custGeom>
              <a:avLst/>
              <a:gdLst>
                <a:gd name="connsiteX0" fmla="*/ 568198 w 852296"/>
                <a:gd name="connsiteY0" fmla="*/ 600837 h 600837"/>
                <a:gd name="connsiteX1" fmla="*/ 852297 w 852296"/>
                <a:gd name="connsiteY1" fmla="*/ 0 h 600837"/>
                <a:gd name="connsiteX2" fmla="*/ 284099 w 852296"/>
                <a:gd name="connsiteY2" fmla="*/ 0 h 600837"/>
                <a:gd name="connsiteX3" fmla="*/ 0 w 852296"/>
                <a:gd name="connsiteY3" fmla="*/ 600837 h 600837"/>
                <a:gd name="connsiteX4" fmla="*/ 568198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568198" y="600837"/>
                  </a:moveTo>
                  <a:lnTo>
                    <a:pt x="852297" y="0"/>
                  </a:lnTo>
                  <a:lnTo>
                    <a:pt x="284099" y="0"/>
                  </a:lnTo>
                  <a:cubicBezTo>
                    <a:pt x="284099" y="0"/>
                    <a:pt x="0" y="600837"/>
                    <a:pt x="0" y="600837"/>
                  </a:cubicBezTo>
                  <a:lnTo>
                    <a:pt x="568198" y="600837"/>
                  </a:lnTo>
                  <a:close/>
                </a:path>
              </a:pathLst>
            </a:custGeom>
            <a:solidFill>
              <a:srgbClr val="CDDB00"/>
            </a:solidFill>
            <a:ln w="6350" cap="flat">
              <a:noFill/>
              <a:prstDash val="solid"/>
              <a:miter/>
            </a:ln>
          </p:spPr>
          <p:txBody>
            <a:bodyPr rtlCol="0" anchor="ctr"/>
            <a:lstStyle/>
            <a:p>
              <a:endParaRPr lang="en-AU" sz="1984"/>
            </a:p>
          </p:txBody>
        </p:sp>
        <p:sp>
          <p:nvSpPr>
            <p:cNvPr id="41" name="Free-form: Shape 40">
              <a:extLst>
                <a:ext uri="{FF2B5EF4-FFF2-40B4-BE49-F238E27FC236}">
                  <a16:creationId xmlns:a16="http://schemas.microsoft.com/office/drawing/2014/main" id="{1AB8811A-2AF9-3D1A-7290-BC7B6EA26CFE}"/>
                </a:ext>
              </a:extLst>
            </p:cNvPr>
            <p:cNvSpPr/>
            <p:nvPr userDrawn="1"/>
          </p:nvSpPr>
          <p:spPr>
            <a:xfrm>
              <a:off x="8291703" y="1"/>
              <a:ext cx="639222" cy="600837"/>
            </a:xfrm>
            <a:custGeom>
              <a:avLst/>
              <a:gdLst>
                <a:gd name="connsiteX0" fmla="*/ 852297 w 852296"/>
                <a:gd name="connsiteY0" fmla="*/ 600837 h 600837"/>
                <a:gd name="connsiteX1" fmla="*/ 568198 w 852296"/>
                <a:gd name="connsiteY1" fmla="*/ 0 h 600837"/>
                <a:gd name="connsiteX2" fmla="*/ 0 w 852296"/>
                <a:gd name="connsiteY2" fmla="*/ 0 h 600837"/>
                <a:gd name="connsiteX3" fmla="*/ 284099 w 852296"/>
                <a:gd name="connsiteY3" fmla="*/ 600837 h 600837"/>
                <a:gd name="connsiteX4" fmla="*/ 852297 w 852296"/>
                <a:gd name="connsiteY4" fmla="*/ 600837 h 600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2296" h="600837">
                  <a:moveTo>
                    <a:pt x="852297" y="600837"/>
                  </a:moveTo>
                  <a:lnTo>
                    <a:pt x="568198" y="0"/>
                  </a:lnTo>
                  <a:lnTo>
                    <a:pt x="0" y="0"/>
                  </a:lnTo>
                  <a:cubicBezTo>
                    <a:pt x="0" y="0"/>
                    <a:pt x="284099" y="600837"/>
                    <a:pt x="284099" y="600837"/>
                  </a:cubicBezTo>
                  <a:lnTo>
                    <a:pt x="852297" y="600837"/>
                  </a:lnTo>
                  <a:close/>
                </a:path>
              </a:pathLst>
            </a:custGeom>
            <a:solidFill>
              <a:srgbClr val="FFFFFF">
                <a:alpha val="50000"/>
              </a:srgbClr>
            </a:solidFill>
            <a:ln w="6350" cap="flat">
              <a:noFill/>
              <a:prstDash val="solid"/>
              <a:miter/>
            </a:ln>
          </p:spPr>
          <p:txBody>
            <a:bodyPr rtlCol="0" anchor="ctr"/>
            <a:lstStyle/>
            <a:p>
              <a:endParaRPr lang="en-AU" sz="1984"/>
            </a:p>
          </p:txBody>
        </p:sp>
        <p:sp>
          <p:nvSpPr>
            <p:cNvPr id="42" name="Free-form: Shape 41">
              <a:extLst>
                <a:ext uri="{FF2B5EF4-FFF2-40B4-BE49-F238E27FC236}">
                  <a16:creationId xmlns:a16="http://schemas.microsoft.com/office/drawing/2014/main" id="{F88C237B-3642-81D4-58BC-F75C75257471}"/>
                </a:ext>
              </a:extLst>
            </p:cNvPr>
            <p:cNvSpPr/>
            <p:nvPr userDrawn="1"/>
          </p:nvSpPr>
          <p:spPr>
            <a:xfrm>
              <a:off x="8029908" y="600837"/>
              <a:ext cx="712232" cy="669162"/>
            </a:xfrm>
            <a:custGeom>
              <a:avLst/>
              <a:gdLst>
                <a:gd name="connsiteX0" fmla="*/ 0 w 949642"/>
                <a:gd name="connsiteY0" fmla="*/ 0 h 669162"/>
                <a:gd name="connsiteX1" fmla="*/ 316548 w 949642"/>
                <a:gd name="connsiteY1" fmla="*/ 669163 h 669162"/>
                <a:gd name="connsiteX2" fmla="*/ 949643 w 949642"/>
                <a:gd name="connsiteY2" fmla="*/ 669163 h 669162"/>
                <a:gd name="connsiteX3" fmla="*/ 633095 w 949642"/>
                <a:gd name="connsiteY3" fmla="*/ 0 h 669162"/>
                <a:gd name="connsiteX4" fmla="*/ 0 w 949642"/>
                <a:gd name="connsiteY4" fmla="*/ 0 h 66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9642" h="669162">
                  <a:moveTo>
                    <a:pt x="0" y="0"/>
                  </a:moveTo>
                  <a:lnTo>
                    <a:pt x="316548" y="669163"/>
                  </a:lnTo>
                  <a:lnTo>
                    <a:pt x="949643" y="669163"/>
                  </a:lnTo>
                  <a:cubicBezTo>
                    <a:pt x="949643" y="669163"/>
                    <a:pt x="633095" y="0"/>
                    <a:pt x="633095" y="0"/>
                  </a:cubicBezTo>
                  <a:lnTo>
                    <a:pt x="0" y="0"/>
                  </a:lnTo>
                  <a:close/>
                </a:path>
              </a:pathLst>
            </a:custGeom>
            <a:solidFill>
              <a:srgbClr val="FFFFFF">
                <a:alpha val="50000"/>
              </a:srgbClr>
            </a:solidFill>
            <a:ln w="6350" cap="flat">
              <a:noFill/>
              <a:prstDash val="solid"/>
              <a:miter/>
            </a:ln>
          </p:spPr>
          <p:txBody>
            <a:bodyPr rtlCol="0" anchor="ctr"/>
            <a:lstStyle/>
            <a:p>
              <a:endParaRPr lang="en-AU" sz="1984"/>
            </a:p>
          </p:txBody>
        </p:sp>
      </p:grpSp>
      <p:sp>
        <p:nvSpPr>
          <p:cNvPr id="4" name="Date Placeholder 3"/>
          <p:cNvSpPr>
            <a:spLocks noGrp="1"/>
          </p:cNvSpPr>
          <p:nvPr>
            <p:ph type="dt" sz="half" idx="2"/>
          </p:nvPr>
        </p:nvSpPr>
        <p:spPr>
          <a:xfrm>
            <a:off x="6509982" y="7004053"/>
            <a:ext cx="2266302" cy="396833"/>
          </a:xfrm>
          <a:prstGeom prst="rect">
            <a:avLst/>
          </a:prstGeom>
        </p:spPr>
        <p:txBody>
          <a:bodyPr vert="horz" lIns="0" tIns="0" rIns="0" bIns="0" rtlCol="0" anchor="ctr"/>
          <a:lstStyle>
            <a:lvl1pPr algn="r">
              <a:defRPr sz="1102">
                <a:solidFill>
                  <a:schemeClr val="accent6"/>
                </a:solidFill>
              </a:defRPr>
            </a:lvl1pPr>
          </a:lstStyle>
          <a:p>
            <a:fld id="{973D4877-A18C-4E62-9946-F942ED83388C}" type="datetime1">
              <a:rPr lang="en-GB" smtClean="0"/>
              <a:pPr/>
              <a:t>31/07/2023</a:t>
            </a:fld>
            <a:endParaRPr lang="en-GB" dirty="0"/>
          </a:p>
        </p:txBody>
      </p:sp>
      <p:sp>
        <p:nvSpPr>
          <p:cNvPr id="2" name="Title Placeholder 1"/>
          <p:cNvSpPr>
            <a:spLocks noGrp="1"/>
          </p:cNvSpPr>
          <p:nvPr>
            <p:ph type="title"/>
          </p:nvPr>
        </p:nvSpPr>
        <p:spPr>
          <a:xfrm>
            <a:off x="568002" y="423804"/>
            <a:ext cx="7576875" cy="793667"/>
          </a:xfrm>
          <a:prstGeom prst="rect">
            <a:avLst/>
          </a:prstGeom>
        </p:spPr>
        <p:txBody>
          <a:bodyPr vert="horz" lIns="0" tIns="0" rIns="0" bIns="0" rtlCol="0" anchor="ctr">
            <a:noAutofit/>
          </a:bodyPr>
          <a:lstStyle/>
          <a:p>
            <a:r>
              <a:rPr lang="en-US" dirty="0"/>
              <a:t>Click to edit </a:t>
            </a:r>
            <a:br>
              <a:rPr lang="en-US" dirty="0"/>
            </a:br>
            <a:r>
              <a:rPr lang="en-US" dirty="0"/>
              <a:t>Master title style</a:t>
            </a:r>
            <a:endParaRPr lang="en-GB" dirty="0"/>
          </a:p>
        </p:txBody>
      </p:sp>
      <p:sp>
        <p:nvSpPr>
          <p:cNvPr id="3" name="Text Placeholder 2"/>
          <p:cNvSpPr>
            <a:spLocks noGrp="1"/>
          </p:cNvSpPr>
          <p:nvPr>
            <p:ph type="body" idx="1"/>
          </p:nvPr>
        </p:nvSpPr>
        <p:spPr>
          <a:xfrm>
            <a:off x="568000" y="2012413"/>
            <a:ext cx="9429000" cy="436516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3"/>
          </p:nvPr>
        </p:nvSpPr>
        <p:spPr>
          <a:xfrm>
            <a:off x="568001" y="7004053"/>
            <a:ext cx="5240004" cy="396833"/>
          </a:xfrm>
          <a:prstGeom prst="rect">
            <a:avLst/>
          </a:prstGeom>
        </p:spPr>
        <p:txBody>
          <a:bodyPr vert="horz" lIns="0" tIns="0" rIns="0" bIns="0" rtlCol="0" anchor="ctr"/>
          <a:lstStyle>
            <a:lvl1pPr algn="l">
              <a:defRPr sz="1102">
                <a:solidFill>
                  <a:schemeClr val="accent6"/>
                </a:solidFill>
              </a:defRPr>
            </a:lvl1pPr>
          </a:lstStyle>
          <a:p>
            <a:r>
              <a:rPr lang="en-GB"/>
              <a:t>To add a Footer, select 'Insert &gt; Header &amp; Footer'</a:t>
            </a:r>
            <a:endParaRPr lang="en-GB" dirty="0"/>
          </a:p>
        </p:txBody>
      </p:sp>
      <p:sp>
        <p:nvSpPr>
          <p:cNvPr id="6" name="Slide Number Placeholder 5"/>
          <p:cNvSpPr>
            <a:spLocks noGrp="1"/>
          </p:cNvSpPr>
          <p:nvPr>
            <p:ph type="sldNum" sz="quarter" idx="4"/>
          </p:nvPr>
        </p:nvSpPr>
        <p:spPr>
          <a:xfrm>
            <a:off x="9750219" y="7004053"/>
            <a:ext cx="631406" cy="396833"/>
          </a:xfrm>
          <a:prstGeom prst="rect">
            <a:avLst/>
          </a:prstGeom>
        </p:spPr>
        <p:txBody>
          <a:bodyPr vert="horz" lIns="0" tIns="0" rIns="0" bIns="0" rtlCol="0" anchor="ctr"/>
          <a:lstStyle>
            <a:lvl1pPr algn="l">
              <a:defRPr sz="1102">
                <a:solidFill>
                  <a:schemeClr val="accent6"/>
                </a:solidFill>
              </a:defRPr>
            </a:lvl1pPr>
          </a:lstStyle>
          <a:p>
            <a:r>
              <a:rPr lang="en-GB"/>
              <a:t>Page </a:t>
            </a:r>
            <a:fld id="{F5AEA0E0-5CC6-4BD0-905C-A0021E419432}" type="slidenum">
              <a:rPr lang="en-GB" smtClean="0"/>
              <a:pPr/>
              <a:t>‹#›</a:t>
            </a:fld>
            <a:endParaRPr lang="en-GB" dirty="0"/>
          </a:p>
        </p:txBody>
      </p:sp>
      <p:sp>
        <p:nvSpPr>
          <p:cNvPr id="7" name="MSIPCMContentMarking" descr="{&quot;HashCode&quot;:-1264680268,&quot;Placement&quot;:&quot;Footer&quot;,&quot;Top&quot;:516.65155,&quot;Left&quot;:326.046448,&quot;SlideWidth&quot;:720,&quot;SlideHeight&quot;:540}">
            <a:extLst>
              <a:ext uri="{FF2B5EF4-FFF2-40B4-BE49-F238E27FC236}">
                <a16:creationId xmlns:a16="http://schemas.microsoft.com/office/drawing/2014/main" id="{C1CB3AF3-4B80-E700-28DB-DCCFCACEA543}"/>
              </a:ext>
            </a:extLst>
          </p:cNvPr>
          <p:cNvSpPr txBox="1"/>
          <p:nvPr userDrawn="1"/>
        </p:nvSpPr>
        <p:spPr>
          <a:xfrm>
            <a:off x="4841706" y="7294451"/>
            <a:ext cx="1008401" cy="203582"/>
          </a:xfrm>
          <a:prstGeom prst="rect">
            <a:avLst/>
          </a:prstGeom>
          <a:noFill/>
        </p:spPr>
        <p:txBody>
          <a:bodyPr vert="horz" wrap="square" lIns="0" tIns="0" rIns="0" bIns="0" rtlCol="0" anchor="ctr" anchorCtr="1">
            <a:spAutoFit/>
          </a:bodyPr>
          <a:lstStyle/>
          <a:p>
            <a:pPr algn="ctr">
              <a:spcBef>
                <a:spcPts val="0"/>
              </a:spcBef>
              <a:spcAft>
                <a:spcPts val="0"/>
              </a:spcAft>
            </a:pPr>
            <a:r>
              <a:rPr lang="en-AU" sz="1323">
                <a:solidFill>
                  <a:srgbClr val="000000"/>
                </a:solidFill>
                <a:latin typeface="Calibri" panose="020F0502020204030204" pitchFamily="34" charset="0"/>
              </a:rPr>
              <a:t>OFFICIAL</a:t>
            </a:r>
          </a:p>
        </p:txBody>
      </p:sp>
    </p:spTree>
    <p:extLst>
      <p:ext uri="{BB962C8B-B14F-4D97-AF65-F5344CB8AC3E}">
        <p14:creationId xmlns:p14="http://schemas.microsoft.com/office/powerpoint/2010/main" val="23972409"/>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 id="2147483788" r:id="rId18"/>
    <p:sldLayoutId id="2147483804" r:id="rId19"/>
    <p:sldLayoutId id="2147483817" r:id="rId20"/>
    <p:sldLayoutId id="2147483805" r:id="rId21"/>
    <p:sldLayoutId id="2147483816" r:id="rId22"/>
    <p:sldLayoutId id="2147483815" r:id="rId23"/>
    <p:sldLayoutId id="2147483818" r:id="rId24"/>
  </p:sldLayoutIdLst>
  <p:hf hdr="0" dt="0"/>
  <p:txStyles>
    <p:titleStyle>
      <a:lvl1pPr algn="l" defTabSz="1007943" rtl="0" eaLnBrk="1" latinLnBrk="0" hangingPunct="1">
        <a:lnSpc>
          <a:spcPct val="100000"/>
        </a:lnSpc>
        <a:spcBef>
          <a:spcPct val="0"/>
        </a:spcBef>
        <a:buNone/>
        <a:defRPr sz="2535" kern="1200">
          <a:solidFill>
            <a:schemeClr val="accent6"/>
          </a:solidFill>
          <a:latin typeface="+mj-lt"/>
          <a:ea typeface="+mj-ea"/>
          <a:cs typeface="+mj-cs"/>
        </a:defRPr>
      </a:lvl1pPr>
    </p:titleStyle>
    <p:bodyStyle>
      <a:lvl1pPr marL="0" indent="0" algn="l" defTabSz="1007943" rtl="0" eaLnBrk="1" latinLnBrk="0" hangingPunct="1">
        <a:lnSpc>
          <a:spcPct val="100000"/>
        </a:lnSpc>
        <a:spcBef>
          <a:spcPts val="661"/>
        </a:spcBef>
        <a:buFont typeface="Arial" panose="020B0604020202020204" pitchFamily="34" charset="0"/>
        <a:buNone/>
        <a:defRPr sz="1984" b="1" kern="1200">
          <a:solidFill>
            <a:schemeClr val="accent6"/>
          </a:solidFill>
          <a:latin typeface="+mn-lt"/>
          <a:ea typeface="+mn-ea"/>
          <a:cs typeface="+mn-cs"/>
        </a:defRPr>
      </a:lvl1pPr>
      <a:lvl2pPr marL="0" indent="0" algn="l" defTabSz="1007943" rtl="0" eaLnBrk="1" latinLnBrk="0" hangingPunct="1">
        <a:lnSpc>
          <a:spcPct val="100000"/>
        </a:lnSpc>
        <a:spcBef>
          <a:spcPts val="661"/>
        </a:spcBef>
        <a:buFont typeface="Arial" panose="020B0604020202020204" pitchFamily="34" charset="0"/>
        <a:buNone/>
        <a:defRPr sz="1984" kern="1200">
          <a:solidFill>
            <a:schemeClr val="accent6"/>
          </a:solidFill>
          <a:latin typeface="+mn-lt"/>
          <a:ea typeface="+mn-ea"/>
          <a:cs typeface="+mn-cs"/>
        </a:defRPr>
      </a:lvl2pPr>
      <a:lvl3pPr marL="198414" indent="-198414" algn="l" defTabSz="1007943" rtl="0" eaLnBrk="1" latinLnBrk="0" hangingPunct="1">
        <a:lnSpc>
          <a:spcPct val="100000"/>
        </a:lnSpc>
        <a:spcBef>
          <a:spcPts val="661"/>
        </a:spcBef>
        <a:buClr>
          <a:schemeClr val="accent3"/>
        </a:buClr>
        <a:buFont typeface="Arial" panose="020B0604020202020204" pitchFamily="34" charset="0"/>
        <a:buChar char="•"/>
        <a:defRPr sz="1984" kern="1200">
          <a:solidFill>
            <a:schemeClr val="accent6"/>
          </a:solidFill>
          <a:latin typeface="+mn-lt"/>
          <a:ea typeface="+mn-ea"/>
          <a:cs typeface="+mn-cs"/>
        </a:defRPr>
      </a:lvl3pPr>
      <a:lvl4pPr marL="396828" indent="-198414" algn="l" defTabSz="1007943" rtl="0" eaLnBrk="1" latinLnBrk="0" hangingPunct="1">
        <a:lnSpc>
          <a:spcPct val="100000"/>
        </a:lnSpc>
        <a:spcBef>
          <a:spcPts val="1323"/>
        </a:spcBef>
        <a:spcAft>
          <a:spcPts val="1323"/>
        </a:spcAft>
        <a:buClr>
          <a:schemeClr val="accent2"/>
        </a:buClr>
        <a:buFont typeface="Arial" panose="020B0604020202020204" pitchFamily="34" charset="0"/>
        <a:buChar char="•"/>
        <a:defRPr sz="1984" b="0" i="0" kern="1200">
          <a:solidFill>
            <a:schemeClr val="accent6"/>
          </a:solidFill>
          <a:latin typeface="+mn-lt"/>
          <a:ea typeface="+mn-ea"/>
          <a:cs typeface="+mn-cs"/>
        </a:defRPr>
      </a:lvl4pPr>
      <a:lvl5pPr marL="0" indent="0" algn="l" defTabSz="1007943" rtl="0" eaLnBrk="1" latinLnBrk="0" hangingPunct="1">
        <a:lnSpc>
          <a:spcPct val="100000"/>
        </a:lnSpc>
        <a:spcBef>
          <a:spcPts val="661"/>
        </a:spcBef>
        <a:buFont typeface="Arial" panose="020B0604020202020204" pitchFamily="34" charset="0"/>
        <a:buNone/>
        <a:defRPr sz="1543" b="1" kern="1200">
          <a:solidFill>
            <a:schemeClr val="accent6"/>
          </a:solidFill>
          <a:latin typeface="+mn-lt"/>
          <a:ea typeface="+mn-ea"/>
          <a:cs typeface="+mn-cs"/>
        </a:defRPr>
      </a:lvl5pPr>
      <a:lvl6pPr marL="0" indent="0" algn="l" defTabSz="1007943" rtl="0" eaLnBrk="1" latinLnBrk="0" hangingPunct="1">
        <a:lnSpc>
          <a:spcPct val="100000"/>
        </a:lnSpc>
        <a:spcBef>
          <a:spcPts val="661"/>
        </a:spcBef>
        <a:buFont typeface="Arial" panose="020B0604020202020204" pitchFamily="34" charset="0"/>
        <a:buNone/>
        <a:defRPr sz="1543" kern="1200">
          <a:solidFill>
            <a:schemeClr val="tx1"/>
          </a:solidFill>
          <a:latin typeface="+mn-lt"/>
          <a:ea typeface="+mn-ea"/>
          <a:cs typeface="+mn-cs"/>
        </a:defRPr>
      </a:lvl6pPr>
      <a:lvl7pPr marL="0" indent="0" algn="l" defTabSz="1007943" rtl="0" eaLnBrk="1" latinLnBrk="0" hangingPunct="1">
        <a:lnSpc>
          <a:spcPct val="100000"/>
        </a:lnSpc>
        <a:spcBef>
          <a:spcPts val="661"/>
        </a:spcBef>
        <a:buFont typeface="Arial" panose="020B0604020202020204" pitchFamily="34" charset="0"/>
        <a:buNone/>
        <a:defRPr sz="1984" kern="1200">
          <a:solidFill>
            <a:schemeClr val="tx1"/>
          </a:solidFill>
          <a:latin typeface="+mn-lt"/>
          <a:ea typeface="+mn-ea"/>
          <a:cs typeface="+mn-cs"/>
        </a:defRPr>
      </a:lvl7pPr>
      <a:lvl8pPr marL="0" indent="0" algn="l" defTabSz="1007943" rtl="0" eaLnBrk="1" latinLnBrk="0" hangingPunct="1">
        <a:lnSpc>
          <a:spcPct val="100000"/>
        </a:lnSpc>
        <a:spcBef>
          <a:spcPts val="661"/>
        </a:spcBef>
        <a:buFont typeface="Arial" panose="020B0604020202020204" pitchFamily="34" charset="0"/>
        <a:buNone/>
        <a:defRPr sz="1984" kern="1200">
          <a:solidFill>
            <a:schemeClr val="tx1"/>
          </a:solidFill>
          <a:latin typeface="+mn-lt"/>
          <a:ea typeface="+mn-ea"/>
          <a:cs typeface="+mn-cs"/>
        </a:defRPr>
      </a:lvl8pPr>
      <a:lvl9pPr marL="0" indent="0" algn="l" defTabSz="1007943" rtl="0" eaLnBrk="1" latinLnBrk="0" hangingPunct="1">
        <a:lnSpc>
          <a:spcPct val="100000"/>
        </a:lnSpc>
        <a:spcBef>
          <a:spcPts val="661"/>
        </a:spcBef>
        <a:buFont typeface="Arial" panose="020B0604020202020204" pitchFamily="34" charset="0"/>
        <a:buNone/>
        <a:defRPr sz="1984" kern="1200">
          <a:solidFill>
            <a:schemeClr val="tx1"/>
          </a:solidFill>
          <a:latin typeface="+mn-lt"/>
          <a:ea typeface="+mn-ea"/>
          <a:cs typeface="+mn-cs"/>
        </a:defRPr>
      </a:lvl9pPr>
    </p:bodyStyle>
    <p:otherStyle>
      <a:defPPr>
        <a:defRPr lang="en-US"/>
      </a:defPPr>
      <a:lvl1pPr marL="0" algn="l" defTabSz="1007943" rtl="0" eaLnBrk="1" latinLnBrk="0" hangingPunct="1">
        <a:defRPr sz="1984" kern="1200">
          <a:solidFill>
            <a:schemeClr val="tx1"/>
          </a:solidFill>
          <a:latin typeface="+mn-lt"/>
          <a:ea typeface="+mn-ea"/>
          <a:cs typeface="+mn-cs"/>
        </a:defRPr>
      </a:lvl1pPr>
      <a:lvl2pPr marL="503972" algn="l" defTabSz="1007943" rtl="0" eaLnBrk="1" latinLnBrk="0" hangingPunct="1">
        <a:defRPr sz="1984" kern="1200">
          <a:solidFill>
            <a:schemeClr val="tx1"/>
          </a:solidFill>
          <a:latin typeface="+mn-lt"/>
          <a:ea typeface="+mn-ea"/>
          <a:cs typeface="+mn-cs"/>
        </a:defRPr>
      </a:lvl2pPr>
      <a:lvl3pPr marL="1007943" algn="l" defTabSz="1007943" rtl="0" eaLnBrk="1" latinLnBrk="0" hangingPunct="1">
        <a:defRPr sz="1984" kern="1200">
          <a:solidFill>
            <a:schemeClr val="tx1"/>
          </a:solidFill>
          <a:latin typeface="+mn-lt"/>
          <a:ea typeface="+mn-ea"/>
          <a:cs typeface="+mn-cs"/>
        </a:defRPr>
      </a:lvl3pPr>
      <a:lvl4pPr marL="1511915" algn="l" defTabSz="1007943" rtl="0" eaLnBrk="1" latinLnBrk="0" hangingPunct="1">
        <a:defRPr sz="1984" kern="1200">
          <a:solidFill>
            <a:schemeClr val="tx1"/>
          </a:solidFill>
          <a:latin typeface="+mn-lt"/>
          <a:ea typeface="+mn-ea"/>
          <a:cs typeface="+mn-cs"/>
        </a:defRPr>
      </a:lvl4pPr>
      <a:lvl5pPr marL="2015886" algn="l" defTabSz="1007943" rtl="0" eaLnBrk="1" latinLnBrk="0" hangingPunct="1">
        <a:defRPr sz="1984" kern="1200">
          <a:solidFill>
            <a:schemeClr val="tx1"/>
          </a:solidFill>
          <a:latin typeface="+mn-lt"/>
          <a:ea typeface="+mn-ea"/>
          <a:cs typeface="+mn-cs"/>
        </a:defRPr>
      </a:lvl5pPr>
      <a:lvl6pPr marL="2519858" algn="l" defTabSz="1007943" rtl="0" eaLnBrk="1" latinLnBrk="0" hangingPunct="1">
        <a:defRPr sz="1984" kern="1200">
          <a:solidFill>
            <a:schemeClr val="tx1"/>
          </a:solidFill>
          <a:latin typeface="+mn-lt"/>
          <a:ea typeface="+mn-ea"/>
          <a:cs typeface="+mn-cs"/>
        </a:defRPr>
      </a:lvl6pPr>
      <a:lvl7pPr marL="3023829" algn="l" defTabSz="1007943" rtl="0" eaLnBrk="1" latinLnBrk="0" hangingPunct="1">
        <a:defRPr sz="1984" kern="1200">
          <a:solidFill>
            <a:schemeClr val="tx1"/>
          </a:solidFill>
          <a:latin typeface="+mn-lt"/>
          <a:ea typeface="+mn-ea"/>
          <a:cs typeface="+mn-cs"/>
        </a:defRPr>
      </a:lvl7pPr>
      <a:lvl8pPr marL="3527801" algn="l" defTabSz="1007943" rtl="0" eaLnBrk="1" latinLnBrk="0" hangingPunct="1">
        <a:defRPr sz="1984" kern="1200">
          <a:solidFill>
            <a:schemeClr val="tx1"/>
          </a:solidFill>
          <a:latin typeface="+mn-lt"/>
          <a:ea typeface="+mn-ea"/>
          <a:cs typeface="+mn-cs"/>
        </a:defRPr>
      </a:lvl8pPr>
      <a:lvl9pPr marL="4031772" algn="l" defTabSz="1007943" rtl="0" eaLnBrk="1" latinLnBrk="0" hangingPunct="1">
        <a:defRPr sz="198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 Target="slide4.xml"/><Relationship Id="rId1" Type="http://schemas.openxmlformats.org/officeDocument/2006/relationships/slideLayout" Target="../slideLayouts/slideLayout17.xml"/><Relationship Id="rId6" Type="http://schemas.openxmlformats.org/officeDocument/2006/relationships/slide" Target="slide5.xml"/><Relationship Id="rId5" Type="http://schemas.openxmlformats.org/officeDocument/2006/relationships/slide" Target="slide6.xml"/><Relationship Id="rId4" Type="http://schemas.openxmlformats.org/officeDocument/2006/relationships/image" Target="../media/image7.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4108A1F-735A-5659-6FFF-9B790B038F7F}"/>
              </a:ext>
            </a:extLst>
          </p:cNvPr>
          <p:cNvSpPr txBox="1">
            <a:spLocks noGrp="1"/>
          </p:cNvSpPr>
          <p:nvPr>
            <p:ph type="title" idx="4294967295"/>
          </p:nvPr>
        </p:nvSpPr>
        <p:spPr>
          <a:xfrm>
            <a:off x="585788" y="655462"/>
            <a:ext cx="6832651" cy="446276"/>
          </a:xfrm>
          <a:prstGeom prst="rect">
            <a:avLst/>
          </a:prstGeom>
          <a:noFill/>
          <a:ln>
            <a:noFill/>
            <a:prstDash/>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marL="0" marR="0" lvl="0" indent="0" algn="l" defTabSz="995070" rtl="0" eaLnBrk="1" fontAlgn="auto" latinLnBrk="0" hangingPunct="1">
              <a:lnSpc>
                <a:spcPct val="100000"/>
              </a:lnSpc>
              <a:spcBef>
                <a:spcPts val="0"/>
              </a:spcBef>
              <a:spcAft>
                <a:spcPts val="0"/>
              </a:spcAft>
              <a:buClrTx/>
              <a:buSzTx/>
              <a:buFontTx/>
              <a:buNone/>
              <a:tabLst/>
              <a:defRPr/>
            </a:pPr>
            <a:r>
              <a:rPr kumimoji="0" lang="en-AU" sz="2300" b="1" i="0" u="none" strike="noStrike" kern="1200" cap="none" spc="0" normalizeH="0" baseline="0" noProof="0" dirty="0">
                <a:ln>
                  <a:noFill/>
                </a:ln>
                <a:solidFill>
                  <a:srgbClr val="465762"/>
                </a:solidFill>
                <a:effectLst/>
                <a:uLnTx/>
                <a:uFillTx/>
                <a:latin typeface="+mn-lt"/>
                <a:ea typeface="+mn-ea"/>
                <a:cs typeface="Segoe UI" panose="020B0502040204020203" pitchFamily="34" charset="0"/>
              </a:rPr>
              <a:t>Online Triage Questions Webform Content</a:t>
            </a:r>
          </a:p>
        </p:txBody>
      </p:sp>
      <p:sp>
        <p:nvSpPr>
          <p:cNvPr id="2" name="TextBox 1">
            <a:extLst>
              <a:ext uri="{FF2B5EF4-FFF2-40B4-BE49-F238E27FC236}">
                <a16:creationId xmlns:a16="http://schemas.microsoft.com/office/drawing/2014/main" id="{B7596B01-7F2F-00CD-5DEE-FA41336D4C46}"/>
              </a:ext>
            </a:extLst>
          </p:cNvPr>
          <p:cNvSpPr txBox="1"/>
          <p:nvPr/>
        </p:nvSpPr>
        <p:spPr>
          <a:xfrm>
            <a:off x="585788" y="1701567"/>
            <a:ext cx="4882536" cy="5467061"/>
          </a:xfrm>
          <a:prstGeom prst="rect">
            <a:avLst/>
          </a:prstGeom>
          <a:noFill/>
        </p:spPr>
        <p:txBody>
          <a:bodyPr rot="0" spcFirstLastPara="0" vertOverflow="overflow" horzOverflow="overflow" vert="horz" wrap="square" lIns="0" tIns="40094" rIns="80189" bIns="40094" numCol="1" spcCol="0" rtlCol="0" fromWordArt="0" anchor="t" anchorCtr="0" forceAA="0" compatLnSpc="1">
            <a:prstTxWarp prst="textNoShape">
              <a:avLst/>
            </a:prstTxWarp>
            <a:spAutoFit/>
          </a:bodyPr>
          <a:lstStyle/>
          <a:p>
            <a:r>
              <a:rPr lang="en-AU" sz="1000" b="1" dirty="0">
                <a:latin typeface="Arial"/>
                <a:ea typeface="+mn-lt"/>
                <a:cs typeface="+mn-lt"/>
              </a:rPr>
              <a:t>Do you have a Copy of title, development plans, and any other documents detailing your proposal? </a:t>
            </a:r>
            <a:endParaRPr lang="en-US" sz="1000" b="1" dirty="0">
              <a:latin typeface="Arial"/>
              <a:ea typeface="+mn-lt"/>
              <a:cs typeface="+mn-lt"/>
            </a:endParaRPr>
          </a:p>
          <a:p>
            <a:pPr marL="171450" indent="-171450">
              <a:buFont typeface="Arial" panose="020B0604020202020204" pitchFamily="34" charset="0"/>
              <a:buChar char="•"/>
            </a:pPr>
            <a:r>
              <a:rPr lang="en-AU" sz="1000" dirty="0">
                <a:latin typeface="Arial"/>
                <a:ea typeface="+mn-lt"/>
                <a:cs typeface="+mn-lt"/>
              </a:rPr>
              <a:t>Yes – please upload these documents and continue</a:t>
            </a:r>
            <a:endParaRPr lang="en-US" sz="1000" dirty="0">
              <a:latin typeface="Arial"/>
              <a:ea typeface="+mn-lt"/>
              <a:cs typeface="+mn-lt"/>
            </a:endParaRPr>
          </a:p>
          <a:p>
            <a:pPr marL="171450" indent="-171450">
              <a:buFont typeface="Arial" panose="020B0604020202020204" pitchFamily="34" charset="0"/>
              <a:buChar char="•"/>
            </a:pPr>
            <a:r>
              <a:rPr lang="en-AU" sz="1000" dirty="0">
                <a:latin typeface="Arial"/>
                <a:ea typeface="+mn-lt"/>
                <a:cs typeface="+mn-lt"/>
              </a:rPr>
              <a:t>No – please obtain and upload these documents before continuing the process. If you require assistance obtaining these documents, please contact the Statutory Planning Team on </a:t>
            </a:r>
            <a:r>
              <a:rPr lang="en-AU" sz="1000" dirty="0">
                <a:highlight>
                  <a:srgbClr val="FFFF00"/>
                </a:highlight>
                <a:latin typeface="Arial"/>
                <a:ea typeface="+mn-lt"/>
                <a:cs typeface="+mn-lt"/>
              </a:rPr>
              <a:t>&lt;insert phone number and/or email address&gt;</a:t>
            </a:r>
            <a:endParaRPr lang="en-US" sz="1000" dirty="0">
              <a:highlight>
                <a:srgbClr val="FFFF00"/>
              </a:highlight>
              <a:latin typeface="Arial"/>
              <a:ea typeface="+mn-lt"/>
              <a:cs typeface="+mn-lt"/>
            </a:endParaRPr>
          </a:p>
          <a:p>
            <a:pPr lvl="1"/>
            <a:endParaRPr lang="en-US" sz="1000" dirty="0">
              <a:latin typeface="Arial"/>
              <a:ea typeface="+mn-lt"/>
              <a:cs typeface="+mn-lt"/>
            </a:endParaRPr>
          </a:p>
          <a:p>
            <a:r>
              <a:rPr lang="en-AU" sz="1000" b="1" dirty="0">
                <a:latin typeface="Arial"/>
                <a:ea typeface="+mn-lt"/>
                <a:cs typeface="+mn-lt"/>
              </a:rPr>
              <a:t>Please write a summary below on what you are proposing in your application:</a:t>
            </a:r>
            <a:endParaRPr lang="en-US" sz="1000" b="1" dirty="0">
              <a:latin typeface="Arial"/>
              <a:ea typeface="+mn-lt"/>
              <a:cs typeface="+mn-lt"/>
            </a:endParaRPr>
          </a:p>
          <a:p>
            <a:pPr marL="171450" indent="-171450">
              <a:buFont typeface="Arial" panose="020B0604020202020204" pitchFamily="34" charset="0"/>
              <a:buChar char="•"/>
            </a:pPr>
            <a:r>
              <a:rPr lang="en-AU" sz="1000" dirty="0">
                <a:highlight>
                  <a:srgbClr val="FFFF00"/>
                </a:highlight>
                <a:latin typeface="Arial"/>
                <a:ea typeface="+mn-lt"/>
                <a:cs typeface="+mn-lt"/>
              </a:rPr>
              <a:t>&lt;Open text question on webform&gt;</a:t>
            </a:r>
            <a:endParaRPr lang="en-US" sz="1000" dirty="0">
              <a:latin typeface="Arial"/>
              <a:ea typeface="+mn-lt"/>
              <a:cs typeface="+mn-lt"/>
            </a:endParaRPr>
          </a:p>
          <a:p>
            <a:pPr lvl="1"/>
            <a:endParaRPr lang="en-US" sz="1000" dirty="0">
              <a:latin typeface="Arial"/>
              <a:ea typeface="+mn-lt"/>
              <a:cs typeface="+mn-lt"/>
            </a:endParaRPr>
          </a:p>
          <a:p>
            <a:r>
              <a:rPr lang="en-AU" sz="1000" b="1" dirty="0">
                <a:latin typeface="Arial"/>
                <a:ea typeface="+mn-lt"/>
                <a:cs typeface="+mn-lt"/>
              </a:rPr>
              <a:t>How often do you use the statutory planning system?           </a:t>
            </a:r>
            <a:endParaRPr lang="en-US" sz="1000" b="1" dirty="0">
              <a:latin typeface="Arial"/>
              <a:ea typeface="+mn-lt"/>
              <a:cs typeface="+mn-lt"/>
            </a:endParaRPr>
          </a:p>
          <a:p>
            <a:pPr marL="171450" indent="-171450">
              <a:buFont typeface="Arial" panose="020B0604020202020204" pitchFamily="34" charset="0"/>
              <a:buChar char="•"/>
            </a:pPr>
            <a:r>
              <a:rPr lang="en-AU" sz="1000" i="1" dirty="0">
                <a:latin typeface="Arial"/>
                <a:ea typeface="+mn-lt"/>
                <a:cs typeface="+mn-lt"/>
              </a:rPr>
              <a:t>Never/first time user        </a:t>
            </a:r>
            <a:endParaRPr lang="en-US" sz="1000" dirty="0">
              <a:latin typeface="Arial"/>
              <a:ea typeface="+mn-lt"/>
              <a:cs typeface="+mn-lt"/>
            </a:endParaRPr>
          </a:p>
          <a:p>
            <a:pPr marL="171450" indent="-171450">
              <a:buFont typeface="Arial" panose="020B0604020202020204" pitchFamily="34" charset="0"/>
              <a:buChar char="•"/>
            </a:pPr>
            <a:r>
              <a:rPr lang="en-AU" sz="1000" i="1" dirty="0">
                <a:latin typeface="Arial"/>
                <a:ea typeface="+mn-lt"/>
                <a:cs typeface="+mn-lt"/>
              </a:rPr>
              <a:t>Occasionally       </a:t>
            </a:r>
            <a:endParaRPr lang="en-US" sz="1000" dirty="0">
              <a:latin typeface="Arial"/>
              <a:ea typeface="+mn-lt"/>
              <a:cs typeface="+mn-lt"/>
            </a:endParaRPr>
          </a:p>
          <a:p>
            <a:pPr marL="171450" indent="-171450">
              <a:buFont typeface="Arial" panose="020B0604020202020204" pitchFamily="34" charset="0"/>
              <a:buChar char="•"/>
            </a:pPr>
            <a:r>
              <a:rPr lang="en-AU" sz="1000" i="1" dirty="0">
                <a:latin typeface="Arial"/>
                <a:ea typeface="+mn-lt"/>
                <a:cs typeface="+mn-lt"/>
              </a:rPr>
              <a:t>On a regular basis </a:t>
            </a:r>
            <a:endParaRPr lang="en-US" sz="1000" i="1" dirty="0">
              <a:latin typeface="Arial"/>
              <a:ea typeface="+mn-lt"/>
              <a:cs typeface="+mn-lt"/>
            </a:endParaRPr>
          </a:p>
          <a:p>
            <a:endParaRPr lang="en-US" sz="1000" i="1" dirty="0">
              <a:latin typeface="Arial"/>
              <a:ea typeface="+mn-lt"/>
              <a:cs typeface="+mn-lt"/>
            </a:endParaRPr>
          </a:p>
          <a:p>
            <a:r>
              <a:rPr lang="en-US" sz="1000" b="1" dirty="0">
                <a:latin typeface="Arial"/>
                <a:ea typeface="+mn-lt"/>
                <a:cs typeface="+mn-lt"/>
              </a:rPr>
              <a:t>Are</a:t>
            </a:r>
            <a:r>
              <a:rPr lang="en-US" sz="1000" b="1" dirty="0">
                <a:latin typeface="Arial"/>
                <a:ea typeface="+mn-lt"/>
                <a:cs typeface="Segoe UI"/>
              </a:rPr>
              <a:t> you representing another party</a:t>
            </a:r>
            <a:r>
              <a:rPr lang="en-AU" sz="1000" b="1" dirty="0">
                <a:latin typeface="Arial"/>
                <a:ea typeface="+mn-lt"/>
                <a:cs typeface="Arial"/>
              </a:rPr>
              <a:t>?          </a:t>
            </a:r>
            <a:endParaRPr lang="en-US" sz="1000" b="1" dirty="0">
              <a:ea typeface="+mn-lt"/>
              <a:cs typeface="+mn-lt"/>
            </a:endParaRPr>
          </a:p>
          <a:p>
            <a:pPr marL="171450" indent="-171450">
              <a:buFont typeface="Arial" panose="020B0604020202020204" pitchFamily="34" charset="0"/>
              <a:buChar char="•"/>
            </a:pPr>
            <a:r>
              <a:rPr lang="en-AU" sz="1000" i="1" dirty="0">
                <a:latin typeface="Arial"/>
                <a:ea typeface="+mn-lt"/>
                <a:cs typeface="Arial"/>
              </a:rPr>
              <a:t>Yes</a:t>
            </a:r>
            <a:endParaRPr lang="en-US" sz="1000" dirty="0">
              <a:cs typeface="Segoe UI"/>
            </a:endParaRPr>
          </a:p>
          <a:p>
            <a:pPr marL="171450" indent="-171450">
              <a:buFont typeface="Arial" panose="020B0604020202020204" pitchFamily="34" charset="0"/>
              <a:buChar char="•"/>
            </a:pPr>
            <a:r>
              <a:rPr lang="en-AU" sz="1000" i="1" dirty="0">
                <a:latin typeface="Arial"/>
                <a:ea typeface="+mn-lt"/>
                <a:cs typeface="Arial"/>
              </a:rPr>
              <a:t>No</a:t>
            </a:r>
          </a:p>
          <a:p>
            <a:pPr lvl="1"/>
            <a:endParaRPr lang="en-AU" sz="1000" i="1" dirty="0">
              <a:latin typeface="Arial"/>
              <a:ea typeface="+mn-lt"/>
              <a:cs typeface="Arial"/>
            </a:endParaRPr>
          </a:p>
          <a:p>
            <a:r>
              <a:rPr lang="en-AU" sz="1000" b="1" dirty="0">
                <a:latin typeface="Arial"/>
                <a:ea typeface="+mn-lt"/>
                <a:cs typeface="+mn-lt"/>
              </a:rPr>
              <a:t>To assist our Officers to better understand what you want to obtain advice on, please select from the following options (</a:t>
            </a:r>
            <a:r>
              <a:rPr lang="en-AU" sz="1000" b="1" i="1" dirty="0">
                <a:latin typeface="Arial"/>
                <a:ea typeface="+mn-lt"/>
                <a:cs typeface="+mn-lt"/>
              </a:rPr>
              <a:t>multiple options may be selected</a:t>
            </a:r>
            <a:r>
              <a:rPr lang="en-AU" sz="1000" b="1" dirty="0">
                <a:latin typeface="Arial"/>
                <a:ea typeface="+mn-lt"/>
                <a:cs typeface="+mn-lt"/>
              </a:rPr>
              <a:t>). If you are unsure what you’d like to discuss, please select “Unsure”</a:t>
            </a:r>
            <a:endParaRPr lang="en-US" sz="1000" b="1" dirty="0">
              <a:latin typeface="Arial"/>
              <a:ea typeface="+mn-lt"/>
              <a:cs typeface="+mn-lt"/>
            </a:endParaRPr>
          </a:p>
          <a:p>
            <a:pPr marL="171450" indent="-171450">
              <a:buFont typeface="Arial" panose="020B0604020202020204" pitchFamily="34" charset="0"/>
              <a:buChar char="•"/>
            </a:pPr>
            <a:r>
              <a:rPr lang="en-AU" sz="1000" dirty="0">
                <a:latin typeface="Arial"/>
                <a:ea typeface="+mn-lt"/>
                <a:cs typeface="+mn-lt"/>
              </a:rPr>
              <a:t>The planning process</a:t>
            </a:r>
            <a:endParaRPr lang="en-US" sz="1000" dirty="0">
              <a:latin typeface="Arial"/>
              <a:ea typeface="+mn-lt"/>
              <a:cs typeface="+mn-lt"/>
            </a:endParaRPr>
          </a:p>
          <a:p>
            <a:pPr marL="171450" indent="-171450">
              <a:buFont typeface="Arial" panose="020B0604020202020204" pitchFamily="34" charset="0"/>
              <a:buChar char="•"/>
            </a:pPr>
            <a:r>
              <a:rPr lang="en-AU" sz="1000" dirty="0">
                <a:latin typeface="Arial"/>
                <a:ea typeface="+mn-lt"/>
                <a:cs typeface="+mn-lt"/>
              </a:rPr>
              <a:t>A new building/works</a:t>
            </a:r>
            <a:endParaRPr lang="en-US" sz="1000" dirty="0">
              <a:latin typeface="Arial"/>
              <a:ea typeface="+mn-lt"/>
              <a:cs typeface="+mn-lt"/>
            </a:endParaRPr>
          </a:p>
          <a:p>
            <a:pPr marL="171450" indent="-171450">
              <a:buFont typeface="Arial" panose="020B0604020202020204" pitchFamily="34" charset="0"/>
              <a:buChar char="•"/>
            </a:pPr>
            <a:r>
              <a:rPr lang="en-AU" sz="1000" dirty="0">
                <a:latin typeface="Arial"/>
                <a:ea typeface="+mn-lt"/>
                <a:cs typeface="+mn-lt"/>
              </a:rPr>
              <a:t>A new land use</a:t>
            </a:r>
            <a:endParaRPr lang="en-US" sz="1000" dirty="0">
              <a:latin typeface="Arial"/>
              <a:ea typeface="+mn-lt"/>
              <a:cs typeface="+mn-lt"/>
            </a:endParaRPr>
          </a:p>
          <a:p>
            <a:pPr marL="171450" indent="-171450">
              <a:buFont typeface="Arial" panose="020B0604020202020204" pitchFamily="34" charset="0"/>
              <a:buChar char="•"/>
            </a:pPr>
            <a:r>
              <a:rPr lang="en-AU" sz="1000" dirty="0">
                <a:latin typeface="Arial"/>
                <a:ea typeface="+mn-lt"/>
                <a:cs typeface="+mn-lt"/>
              </a:rPr>
              <a:t>Alterations and additions to an existing building</a:t>
            </a:r>
            <a:endParaRPr lang="en-US" sz="1000" dirty="0">
              <a:latin typeface="Arial"/>
              <a:ea typeface="+mn-lt"/>
              <a:cs typeface="+mn-lt"/>
            </a:endParaRPr>
          </a:p>
          <a:p>
            <a:pPr marL="171450" indent="-171450">
              <a:buFont typeface="Arial" panose="020B0604020202020204" pitchFamily="34" charset="0"/>
              <a:buChar char="•"/>
            </a:pPr>
            <a:r>
              <a:rPr lang="en-AU" sz="1000" dirty="0">
                <a:latin typeface="Arial"/>
                <a:ea typeface="+mn-lt"/>
                <a:cs typeface="+mn-lt"/>
              </a:rPr>
              <a:t>Heritage-related matters </a:t>
            </a:r>
            <a:endParaRPr lang="en-US" sz="1000" dirty="0">
              <a:latin typeface="Arial"/>
              <a:ea typeface="+mn-lt"/>
              <a:cs typeface="+mn-lt"/>
            </a:endParaRPr>
          </a:p>
          <a:p>
            <a:pPr marL="171450" indent="-171450">
              <a:buFont typeface="Arial" panose="020B0604020202020204" pitchFamily="34" charset="0"/>
              <a:buChar char="•"/>
            </a:pPr>
            <a:r>
              <a:rPr lang="en-AU" sz="1000" dirty="0">
                <a:latin typeface="Arial"/>
                <a:ea typeface="+mn-lt"/>
                <a:cs typeface="+mn-lt"/>
              </a:rPr>
              <a:t>Subdivision, including boundary realignments</a:t>
            </a:r>
            <a:endParaRPr lang="en-US" sz="1000" dirty="0">
              <a:latin typeface="Arial"/>
              <a:ea typeface="+mn-lt"/>
              <a:cs typeface="+mn-lt"/>
            </a:endParaRPr>
          </a:p>
          <a:p>
            <a:pPr marL="171450" indent="-171450">
              <a:buFont typeface="Arial" panose="020B0604020202020204" pitchFamily="34" charset="0"/>
              <a:buChar char="•"/>
            </a:pPr>
            <a:r>
              <a:rPr lang="en-AU" sz="1000" dirty="0">
                <a:latin typeface="Arial"/>
                <a:ea typeface="+mn-lt"/>
                <a:cs typeface="+mn-lt"/>
              </a:rPr>
              <a:t>Car parking</a:t>
            </a:r>
            <a:endParaRPr lang="en-US" sz="1000" dirty="0">
              <a:latin typeface="Arial"/>
              <a:ea typeface="+mn-lt"/>
              <a:cs typeface="+mn-lt"/>
            </a:endParaRPr>
          </a:p>
          <a:p>
            <a:pPr marL="171450" indent="-171450">
              <a:buFont typeface="Arial" panose="020B0604020202020204" pitchFamily="34" charset="0"/>
              <a:buChar char="•"/>
            </a:pPr>
            <a:r>
              <a:rPr lang="en-AU" sz="1000" dirty="0">
                <a:latin typeface="Arial"/>
                <a:ea typeface="+mn-lt"/>
                <a:cs typeface="+mn-lt"/>
              </a:rPr>
              <a:t>Liquor License</a:t>
            </a:r>
            <a:endParaRPr lang="en-US" sz="1000" dirty="0">
              <a:latin typeface="Arial"/>
              <a:ea typeface="+mn-lt"/>
              <a:cs typeface="+mn-lt"/>
            </a:endParaRPr>
          </a:p>
          <a:p>
            <a:pPr marL="171450" indent="-171450">
              <a:buFont typeface="Arial" panose="020B0604020202020204" pitchFamily="34" charset="0"/>
              <a:buChar char="•"/>
            </a:pPr>
            <a:r>
              <a:rPr lang="en-AU" sz="1000" dirty="0">
                <a:latin typeface="Arial"/>
                <a:ea typeface="+mn-lt"/>
                <a:cs typeface="+mn-lt"/>
              </a:rPr>
              <a:t>Bushfire</a:t>
            </a:r>
            <a:endParaRPr lang="en-US" sz="1000" dirty="0">
              <a:latin typeface="Arial"/>
              <a:ea typeface="+mn-lt"/>
              <a:cs typeface="+mn-lt"/>
            </a:endParaRPr>
          </a:p>
          <a:p>
            <a:pPr marL="171450" indent="-171450">
              <a:buFont typeface="Arial" panose="020B0604020202020204" pitchFamily="34" charset="0"/>
              <a:buChar char="•"/>
            </a:pPr>
            <a:r>
              <a:rPr lang="en-AU" sz="1000" dirty="0">
                <a:latin typeface="Arial"/>
                <a:ea typeface="+mn-lt"/>
                <a:cs typeface="+mn-lt"/>
              </a:rPr>
              <a:t>Vegetation removal</a:t>
            </a:r>
            <a:endParaRPr lang="en-US" sz="1000" dirty="0">
              <a:latin typeface="Arial"/>
              <a:ea typeface="+mn-lt"/>
              <a:cs typeface="+mn-lt"/>
            </a:endParaRPr>
          </a:p>
          <a:p>
            <a:pPr marL="171450" indent="-171450">
              <a:buFont typeface="Arial" panose="020B0604020202020204" pitchFamily="34" charset="0"/>
              <a:buChar char="•"/>
            </a:pPr>
            <a:r>
              <a:rPr lang="en-AU" sz="1000" dirty="0">
                <a:latin typeface="Arial"/>
                <a:ea typeface="+mn-lt"/>
                <a:cs typeface="+mn-lt"/>
              </a:rPr>
              <a:t>Dwelling in a farming or rural conservation zone</a:t>
            </a:r>
            <a:endParaRPr lang="en-US" sz="1000" dirty="0">
              <a:latin typeface="Arial"/>
              <a:ea typeface="+mn-lt"/>
              <a:cs typeface="+mn-lt"/>
            </a:endParaRPr>
          </a:p>
          <a:p>
            <a:pPr marL="171450" indent="-171450">
              <a:buFont typeface="Arial" panose="020B0604020202020204" pitchFamily="34" charset="0"/>
              <a:buChar char="•"/>
            </a:pPr>
            <a:r>
              <a:rPr lang="en-AU" sz="1000" dirty="0">
                <a:latin typeface="Arial"/>
                <a:ea typeface="+mn-lt"/>
                <a:cs typeface="+mn-lt"/>
              </a:rPr>
              <a:t>Unsure</a:t>
            </a:r>
            <a:endParaRPr lang="en-US" sz="1000" dirty="0">
              <a:latin typeface="Arial"/>
              <a:ea typeface="+mn-lt"/>
              <a:cs typeface="+mn-lt"/>
            </a:endParaRPr>
          </a:p>
          <a:p>
            <a:pPr marL="171450" indent="-171450">
              <a:buFont typeface="Arial" panose="020B0604020202020204" pitchFamily="34" charset="0"/>
              <a:buChar char="•"/>
            </a:pPr>
            <a:r>
              <a:rPr lang="en-AU" sz="1000" dirty="0">
                <a:latin typeface="Arial"/>
                <a:ea typeface="+mn-lt"/>
                <a:cs typeface="+mn-lt"/>
              </a:rPr>
              <a:t>Any other matter. Please specify ____________________________________</a:t>
            </a:r>
            <a:endParaRPr lang="en-US" sz="1800" dirty="0">
              <a:cs typeface="Segoe UI"/>
            </a:endParaRPr>
          </a:p>
        </p:txBody>
      </p:sp>
      <p:sp>
        <p:nvSpPr>
          <p:cNvPr id="6" name="TextBox 5">
            <a:extLst>
              <a:ext uri="{FF2B5EF4-FFF2-40B4-BE49-F238E27FC236}">
                <a16:creationId xmlns:a16="http://schemas.microsoft.com/office/drawing/2014/main" id="{EB5C38FC-E8F8-7CE7-EF89-8419271310D7}"/>
              </a:ext>
            </a:extLst>
          </p:cNvPr>
          <p:cNvSpPr txBox="1"/>
          <p:nvPr/>
        </p:nvSpPr>
        <p:spPr>
          <a:xfrm>
            <a:off x="3895124" y="5279013"/>
            <a:ext cx="1450782" cy="1158189"/>
          </a:xfrm>
          <a:prstGeom prst="rect">
            <a:avLst/>
          </a:prstGeom>
          <a:noFill/>
          <a:ln>
            <a:solidFill>
              <a:srgbClr val="FF0000"/>
            </a:solidFill>
          </a:ln>
        </p:spPr>
        <p:txBody>
          <a:bodyPr rot="0" spcFirstLastPara="0" vertOverflow="overflow" horzOverflow="overflow" vert="horz" wrap="square" lIns="80189" tIns="40094" rIns="80189" bIns="40094" numCol="1" spcCol="0" rtlCol="0" fromWordArt="0" anchor="t" anchorCtr="0" forceAA="0" compatLnSpc="1">
            <a:prstTxWarp prst="textNoShape">
              <a:avLst/>
            </a:prstTxWarp>
            <a:spAutoFit/>
          </a:bodyPr>
          <a:lstStyle/>
          <a:p>
            <a:r>
              <a:rPr lang="en-US" sz="1000" b="1" dirty="0">
                <a:solidFill>
                  <a:srgbClr val="FF0000"/>
                </a:solidFill>
                <a:latin typeface="Arial"/>
                <a:cs typeface="Arial"/>
              </a:rPr>
              <a:t>Implementation note: </a:t>
            </a:r>
            <a:r>
              <a:rPr lang="en-US" sz="1000" dirty="0">
                <a:solidFill>
                  <a:srgbClr val="FF0000"/>
                </a:solidFill>
                <a:latin typeface="Arial"/>
                <a:cs typeface="Arial"/>
              </a:rPr>
              <a:t>Delete these notes prior to publishing this solution.</a:t>
            </a:r>
            <a:endParaRPr lang="en-US" sz="1000" dirty="0">
              <a:cs typeface="Segoe UI"/>
            </a:endParaRPr>
          </a:p>
          <a:p>
            <a:r>
              <a:rPr lang="en-US" sz="1000" dirty="0" err="1">
                <a:solidFill>
                  <a:srgbClr val="FF0000"/>
                </a:solidFill>
                <a:latin typeface="Arial"/>
                <a:cs typeface="Segoe UI"/>
              </a:rPr>
              <a:t>Customise</a:t>
            </a:r>
            <a:r>
              <a:rPr lang="en-US" sz="1000" dirty="0">
                <a:solidFill>
                  <a:srgbClr val="FF0000"/>
                </a:solidFill>
                <a:latin typeface="Arial"/>
                <a:cs typeface="Segoe UI"/>
              </a:rPr>
              <a:t> these options to your council as appropriate.</a:t>
            </a:r>
          </a:p>
        </p:txBody>
      </p:sp>
      <p:sp>
        <p:nvSpPr>
          <p:cNvPr id="3" name="TextBox 2">
            <a:extLst>
              <a:ext uri="{FF2B5EF4-FFF2-40B4-BE49-F238E27FC236}">
                <a16:creationId xmlns:a16="http://schemas.microsoft.com/office/drawing/2014/main" id="{5FBF75FD-B219-3D4A-53CB-6455E7ECFC7F}"/>
              </a:ext>
            </a:extLst>
          </p:cNvPr>
          <p:cNvSpPr txBox="1"/>
          <p:nvPr/>
        </p:nvSpPr>
        <p:spPr>
          <a:xfrm>
            <a:off x="5548128" y="1701567"/>
            <a:ext cx="4882536" cy="2678157"/>
          </a:xfrm>
          <a:prstGeom prst="rect">
            <a:avLst/>
          </a:prstGeom>
          <a:noFill/>
        </p:spPr>
        <p:txBody>
          <a:bodyPr rot="0" spcFirstLastPara="0" vertOverflow="overflow" horzOverflow="overflow" vert="horz" wrap="square" lIns="80189" tIns="40094" rIns="80189" bIns="40094" numCol="1" spcCol="0" rtlCol="0" fromWordArt="0" anchor="t" anchorCtr="0" forceAA="0" compatLnSpc="1">
            <a:prstTxWarp prst="textNoShape">
              <a:avLst/>
            </a:prstTxWarp>
            <a:spAutoFit/>
          </a:bodyPr>
          <a:lstStyle/>
          <a:p>
            <a:r>
              <a:rPr lang="en-AU" sz="1000" b="1" dirty="0">
                <a:latin typeface="Arial"/>
                <a:cs typeface="Arial"/>
              </a:rPr>
              <a:t>Are you aware of any particular restrictions that apply to your site? This might include a restriction registered on title </a:t>
            </a:r>
            <a:r>
              <a:rPr lang="en-AU" sz="1000" dirty="0">
                <a:latin typeface="Arial"/>
                <a:cs typeface="Arial"/>
              </a:rPr>
              <a:t>(typically listed as an ‘Encumbrance’ such as a ‘Registered Restrictive Covenant’)</a:t>
            </a:r>
            <a:endParaRPr lang="en-US" sz="1000" dirty="0">
              <a:latin typeface="Arial"/>
              <a:ea typeface="+mn-lt"/>
              <a:cs typeface="+mn-lt"/>
            </a:endParaRPr>
          </a:p>
          <a:p>
            <a:pPr marL="74880" indent="-171450">
              <a:buFont typeface="Arial" panose="020B0604020202020204" pitchFamily="34" charset="0"/>
              <a:buChar char="•"/>
            </a:pPr>
            <a:r>
              <a:rPr lang="en-AU" sz="1000" dirty="0">
                <a:latin typeface="Arial"/>
                <a:cs typeface="Arial"/>
              </a:rPr>
              <a:t>Yes     </a:t>
            </a:r>
            <a:endParaRPr lang="en-US" sz="1000" dirty="0">
              <a:latin typeface="Arial"/>
              <a:ea typeface="+mn-lt"/>
              <a:cs typeface="+mn-lt"/>
            </a:endParaRPr>
          </a:p>
          <a:p>
            <a:pPr marL="74880" indent="-171450">
              <a:buFont typeface="Arial" panose="020B0604020202020204" pitchFamily="34" charset="0"/>
              <a:buChar char="•"/>
            </a:pPr>
            <a:r>
              <a:rPr lang="en-AU" sz="1000" dirty="0">
                <a:latin typeface="Arial"/>
                <a:cs typeface="Arial"/>
              </a:rPr>
              <a:t>No</a:t>
            </a:r>
            <a:endParaRPr lang="en-US" sz="1000" dirty="0">
              <a:latin typeface="Arial"/>
              <a:ea typeface="+mn-lt"/>
              <a:cs typeface="+mn-lt"/>
            </a:endParaRPr>
          </a:p>
          <a:p>
            <a:pPr marL="74880" indent="-171450">
              <a:buFont typeface="Arial" panose="020B0604020202020204" pitchFamily="34" charset="0"/>
              <a:buChar char="•"/>
            </a:pPr>
            <a:r>
              <a:rPr lang="en-AU" sz="1000" dirty="0">
                <a:latin typeface="Arial"/>
                <a:cs typeface="Arial"/>
              </a:rPr>
              <a:t>Unsure</a:t>
            </a:r>
            <a:endParaRPr lang="en-US" sz="1000" dirty="0">
              <a:latin typeface="Arial"/>
              <a:ea typeface="+mn-lt"/>
              <a:cs typeface="+mn-lt"/>
            </a:endParaRPr>
          </a:p>
          <a:p>
            <a:pPr lvl="1"/>
            <a:endParaRPr lang="en-US" sz="1000" dirty="0">
              <a:latin typeface="Arial"/>
              <a:ea typeface="+mn-lt"/>
              <a:cs typeface="+mn-lt"/>
            </a:endParaRPr>
          </a:p>
          <a:p>
            <a:r>
              <a:rPr lang="en-AU" sz="1000" b="1" dirty="0">
                <a:latin typeface="Arial"/>
                <a:cs typeface="Arial"/>
              </a:rPr>
              <a:t>Do you have an estimated cost of development for your proposal? If yes, please advise of the estimate below.</a:t>
            </a:r>
            <a:endParaRPr lang="en-AU" sz="1000" b="1" dirty="0">
              <a:latin typeface="Arial"/>
              <a:ea typeface="+mn-lt"/>
              <a:cs typeface="Arial"/>
            </a:endParaRPr>
          </a:p>
          <a:p>
            <a:pPr marL="171450" indent="-171450">
              <a:buFont typeface="Arial" panose="020B0604020202020204" pitchFamily="34" charset="0"/>
              <a:buChar char="•"/>
            </a:pPr>
            <a:r>
              <a:rPr lang="en-AU" sz="1000" dirty="0">
                <a:highlight>
                  <a:srgbClr val="FFFF00"/>
                </a:highlight>
                <a:latin typeface="Arial"/>
                <a:cs typeface="Arial"/>
              </a:rPr>
              <a:t>&lt;Open text question on webform&gt;</a:t>
            </a:r>
            <a:endParaRPr lang="en-US" sz="1000" dirty="0">
              <a:highlight>
                <a:srgbClr val="FFFF00"/>
              </a:highlight>
              <a:latin typeface="Arial"/>
              <a:ea typeface="+mn-lt"/>
              <a:cs typeface="+mn-lt"/>
            </a:endParaRPr>
          </a:p>
          <a:p>
            <a:pPr lvl="1"/>
            <a:endParaRPr lang="en-US" sz="1000" dirty="0">
              <a:latin typeface="Arial"/>
              <a:ea typeface="+mn-lt"/>
              <a:cs typeface="+mn-lt"/>
            </a:endParaRPr>
          </a:p>
          <a:p>
            <a:r>
              <a:rPr lang="en-AU" sz="1000" b="1" dirty="0">
                <a:latin typeface="Arial"/>
                <a:cs typeface="Arial"/>
              </a:rPr>
              <a:t>What are your contact details?</a:t>
            </a:r>
            <a:endParaRPr lang="en-US" sz="1000" b="1" dirty="0">
              <a:latin typeface="Arial"/>
              <a:ea typeface="+mn-lt"/>
              <a:cs typeface="+mn-lt"/>
            </a:endParaRPr>
          </a:p>
          <a:p>
            <a:pPr marL="171450" indent="-171450">
              <a:buFont typeface="Arial" panose="020B0604020202020204" pitchFamily="34" charset="0"/>
              <a:buChar char="•"/>
            </a:pPr>
            <a:r>
              <a:rPr lang="en-AU" sz="1000" dirty="0">
                <a:latin typeface="Arial"/>
                <a:cs typeface="Arial"/>
              </a:rPr>
              <a:t>Email (mandatory)</a:t>
            </a:r>
            <a:endParaRPr lang="en-US" sz="1000" dirty="0">
              <a:latin typeface="Arial"/>
              <a:ea typeface="+mn-lt"/>
              <a:cs typeface="+mn-lt"/>
            </a:endParaRPr>
          </a:p>
          <a:p>
            <a:pPr marL="171450" indent="-171450">
              <a:buFont typeface="Arial" panose="020B0604020202020204" pitchFamily="34" charset="0"/>
              <a:buChar char="•"/>
            </a:pPr>
            <a:r>
              <a:rPr lang="en-AU" sz="1000" dirty="0">
                <a:latin typeface="Arial"/>
                <a:cs typeface="Arial"/>
              </a:rPr>
              <a:t>First and last name (mandatory)</a:t>
            </a:r>
            <a:endParaRPr lang="en-US" sz="1000" dirty="0">
              <a:latin typeface="Arial"/>
              <a:ea typeface="+mn-lt"/>
              <a:cs typeface="+mn-lt"/>
            </a:endParaRPr>
          </a:p>
          <a:p>
            <a:pPr marL="171450" indent="-171450">
              <a:buFont typeface="Arial" panose="020B0604020202020204" pitchFamily="34" charset="0"/>
              <a:buChar char="•"/>
            </a:pPr>
            <a:r>
              <a:rPr lang="en-AU" sz="1000" dirty="0">
                <a:latin typeface="Arial"/>
                <a:cs typeface="Arial"/>
              </a:rPr>
              <a:t>Contact number (optional)</a:t>
            </a:r>
            <a:endParaRPr lang="en-US" sz="1000" dirty="0">
              <a:latin typeface="Arial"/>
              <a:ea typeface="+mn-lt"/>
              <a:cs typeface="+mn-lt"/>
            </a:endParaRPr>
          </a:p>
          <a:p>
            <a:pPr marL="171450" indent="-171450">
              <a:buFont typeface="Arial" panose="020B0604020202020204" pitchFamily="34" charset="0"/>
              <a:buChar char="•"/>
            </a:pPr>
            <a:r>
              <a:rPr lang="en-AU" sz="1000" b="1" i="1" dirty="0">
                <a:latin typeface="Arial"/>
                <a:cs typeface="Arial"/>
              </a:rPr>
              <a:t>&gt;Complete Triage Form</a:t>
            </a:r>
            <a:endParaRPr lang="en-US" sz="1000" dirty="0">
              <a:latin typeface="Arial"/>
              <a:ea typeface="+mn-lt"/>
              <a:cs typeface="+mn-lt"/>
            </a:endParaRPr>
          </a:p>
          <a:p>
            <a:pPr algn="l"/>
            <a:endParaRPr lang="en-US" sz="900" dirty="0">
              <a:latin typeface="Arial"/>
              <a:cs typeface="Segoe UI"/>
            </a:endParaRPr>
          </a:p>
        </p:txBody>
      </p:sp>
      <p:sp>
        <p:nvSpPr>
          <p:cNvPr id="4" name="TextBox 3">
            <a:extLst>
              <a:ext uri="{FF2B5EF4-FFF2-40B4-BE49-F238E27FC236}">
                <a16:creationId xmlns:a16="http://schemas.microsoft.com/office/drawing/2014/main" id="{DE6CF400-27CE-EEAF-BA19-42B39294D749}"/>
              </a:ext>
            </a:extLst>
          </p:cNvPr>
          <p:cNvSpPr txBox="1"/>
          <p:nvPr/>
        </p:nvSpPr>
        <p:spPr>
          <a:xfrm>
            <a:off x="5904229" y="4557701"/>
            <a:ext cx="4526435" cy="1927630"/>
          </a:xfrm>
          <a:prstGeom prst="rect">
            <a:avLst/>
          </a:prstGeom>
          <a:noFill/>
          <a:ln>
            <a:solidFill>
              <a:srgbClr val="FF0000"/>
            </a:solidFill>
          </a:ln>
        </p:spPr>
        <p:txBody>
          <a:bodyPr rot="0" spcFirstLastPara="0" vertOverflow="overflow" horzOverflow="overflow" vert="horz" wrap="square" lIns="80189" tIns="40094" rIns="80189" bIns="40094" numCol="1" spcCol="0" rtlCol="0" fromWordArt="0" anchor="t" anchorCtr="0" forceAA="0" compatLnSpc="1">
            <a:prstTxWarp prst="textNoShape">
              <a:avLst/>
            </a:prstTxWarp>
            <a:spAutoFit/>
          </a:bodyPr>
          <a:lstStyle/>
          <a:p>
            <a:r>
              <a:rPr lang="en-US" sz="1000" b="1" dirty="0">
                <a:solidFill>
                  <a:srgbClr val="FF0000"/>
                </a:solidFill>
                <a:latin typeface="Arial"/>
                <a:cs typeface="Arial"/>
              </a:rPr>
              <a:t>Implementation note: </a:t>
            </a:r>
            <a:r>
              <a:rPr lang="en-US" sz="1000" dirty="0">
                <a:solidFill>
                  <a:srgbClr val="FF0000"/>
                </a:solidFill>
                <a:latin typeface="Arial"/>
                <a:cs typeface="Arial"/>
              </a:rPr>
              <a:t>Delete these notes prior to publishing this solution.</a:t>
            </a:r>
            <a:endParaRPr lang="en-US" sz="1000" dirty="0">
              <a:cs typeface="Segoe UI"/>
            </a:endParaRPr>
          </a:p>
          <a:p>
            <a:r>
              <a:rPr lang="en-US" sz="1000" dirty="0">
                <a:solidFill>
                  <a:srgbClr val="FF0000"/>
                </a:solidFill>
                <a:latin typeface="Arial"/>
                <a:cs typeface="Segoe UI"/>
              </a:rPr>
              <a:t>These questions should be filled out by customers as part of a pre-application meeting request. These questions are not exhaustive, and you may wish to add additional questions, tweak the existing questions and necessary or remove any that are not relevant to your council. The answers to these questions will help you determine if a pre-application meeting is necessary (using the triage map on the next page). Ideally, these questions will be accessible via a webform on council's website, with the answers feeding directly to your relevant software. If this option is not available within your website, you may choose to make a PDF of this webform available on the website to be emailed to the Statutory planning department with a pre-application meeting request.</a:t>
            </a:r>
          </a:p>
        </p:txBody>
      </p:sp>
    </p:spTree>
    <p:extLst>
      <p:ext uri="{BB962C8B-B14F-4D97-AF65-F5344CB8AC3E}">
        <p14:creationId xmlns:p14="http://schemas.microsoft.com/office/powerpoint/2010/main" val="32787877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1948D4-519C-6629-62AF-F2BFBFB05A09}"/>
              </a:ext>
            </a:extLst>
          </p:cNvPr>
          <p:cNvSpPr txBox="1">
            <a:spLocks noGrp="1"/>
          </p:cNvSpPr>
          <p:nvPr>
            <p:ph type="title" idx="4294967295"/>
          </p:nvPr>
        </p:nvSpPr>
        <p:spPr>
          <a:xfrm>
            <a:off x="585788" y="655462"/>
            <a:ext cx="6832651" cy="446276"/>
          </a:xfrm>
          <a:prstGeom prst="rect">
            <a:avLst/>
          </a:prstGeom>
          <a:noFill/>
          <a:ln>
            <a:noFill/>
            <a:prstDash/>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marL="0" marR="0" lvl="0" indent="0" algn="l" defTabSz="995070" rtl="0" eaLnBrk="1" fontAlgn="auto" latinLnBrk="0" hangingPunct="1">
              <a:lnSpc>
                <a:spcPct val="100000"/>
              </a:lnSpc>
              <a:spcBef>
                <a:spcPts val="0"/>
              </a:spcBef>
              <a:spcAft>
                <a:spcPts val="0"/>
              </a:spcAft>
              <a:buClrTx/>
              <a:buSzTx/>
              <a:buFontTx/>
              <a:buNone/>
              <a:tabLst/>
              <a:defRPr/>
            </a:pPr>
            <a:r>
              <a:rPr kumimoji="0" lang="en-AU" sz="2300" b="1" i="0" u="none" strike="noStrike" kern="1200" cap="none" spc="0" normalizeH="0" baseline="0" noProof="0" dirty="0">
                <a:ln>
                  <a:noFill/>
                </a:ln>
                <a:solidFill>
                  <a:srgbClr val="465762"/>
                </a:solidFill>
                <a:effectLst/>
                <a:uLnTx/>
                <a:uFillTx/>
                <a:latin typeface="+mn-lt"/>
                <a:ea typeface="+mn-ea"/>
                <a:cs typeface="Segoe UI" panose="020B0502040204020203" pitchFamily="34" charset="0"/>
              </a:rPr>
              <a:t>Triage process future state map</a:t>
            </a:r>
          </a:p>
        </p:txBody>
      </p:sp>
      <p:cxnSp>
        <p:nvCxnSpPr>
          <p:cNvPr id="140" name="Straight Connector 139">
            <a:extLst>
              <a:ext uri="{FF2B5EF4-FFF2-40B4-BE49-F238E27FC236}">
                <a16:creationId xmlns:a16="http://schemas.microsoft.com/office/drawing/2014/main" id="{699087B6-6BEC-1452-3A6B-3895FACDF026}"/>
              </a:ext>
              <a:ext uri="{C183D7F6-B498-43B3-948B-1728B52AA6E4}">
                <adec:decorative xmlns:adec="http://schemas.microsoft.com/office/drawing/2017/decorative" val="1"/>
              </a:ext>
            </a:extLst>
          </p:cNvPr>
          <p:cNvCxnSpPr>
            <a:cxnSpLocks/>
          </p:cNvCxnSpPr>
          <p:nvPr/>
        </p:nvCxnSpPr>
        <p:spPr>
          <a:xfrm>
            <a:off x="2769265" y="2187427"/>
            <a:ext cx="0" cy="1613104"/>
          </a:xfrm>
          <a:prstGeom prst="line">
            <a:avLst/>
          </a:prstGeom>
          <a:ln w="193675">
            <a:solidFill>
              <a:schemeClr val="tx2"/>
            </a:solidFill>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E9B51DB5-5737-7417-A245-BA8B234FB133}"/>
              </a:ext>
            </a:extLst>
          </p:cNvPr>
          <p:cNvSpPr/>
          <p:nvPr/>
        </p:nvSpPr>
        <p:spPr>
          <a:xfrm>
            <a:off x="216923" y="1853367"/>
            <a:ext cx="2329292" cy="807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AU" sz="1000" dirty="0">
                <a:solidFill>
                  <a:schemeClr val="accent6"/>
                </a:solidFill>
              </a:rPr>
              <a:t>Planning admin contact the applicant and inform them that they cannot proceed with the booking until they provide the required </a:t>
            </a:r>
            <a:r>
              <a:rPr lang="en-AU" sz="1000" dirty="0">
                <a:solidFill>
                  <a:schemeClr val="accent6"/>
                </a:solidFill>
                <a:latin typeface="Arial" panose="020B0604020202020204" pitchFamily="34" charset="0"/>
                <a:cs typeface="Arial" panose="020B0604020202020204" pitchFamily="34" charset="0"/>
              </a:rPr>
              <a:t>documentation</a:t>
            </a:r>
            <a:r>
              <a:rPr lang="en-AU" sz="1000" dirty="0">
                <a:solidFill>
                  <a:schemeClr val="accent6"/>
                </a:solidFill>
              </a:rPr>
              <a:t>. The customer is given </a:t>
            </a:r>
            <a:r>
              <a:rPr lang="en-AU" sz="1000" dirty="0">
                <a:solidFill>
                  <a:schemeClr val="accent6"/>
                </a:solidFill>
                <a:highlight>
                  <a:srgbClr val="FFFF00"/>
                </a:highlight>
              </a:rPr>
              <a:t>&lt;X days&gt;  </a:t>
            </a:r>
            <a:r>
              <a:rPr lang="en-AU" sz="1000" dirty="0">
                <a:solidFill>
                  <a:schemeClr val="accent6"/>
                </a:solidFill>
              </a:rPr>
              <a:t>to provide the documents. If they don't, the request lapses.</a:t>
            </a:r>
          </a:p>
        </p:txBody>
      </p:sp>
      <p:sp>
        <p:nvSpPr>
          <p:cNvPr id="134" name="Rectangle 133">
            <a:extLst>
              <a:ext uri="{FF2B5EF4-FFF2-40B4-BE49-F238E27FC236}">
                <a16:creationId xmlns:a16="http://schemas.microsoft.com/office/drawing/2014/main" id="{AB688853-6856-C920-E63F-FBD4F476EE1E}"/>
              </a:ext>
            </a:extLst>
          </p:cNvPr>
          <p:cNvSpPr/>
          <p:nvPr/>
        </p:nvSpPr>
        <p:spPr>
          <a:xfrm>
            <a:off x="216925" y="2881785"/>
            <a:ext cx="1090892" cy="4541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AU" sz="1000" dirty="0">
                <a:solidFill>
                  <a:schemeClr val="accent6"/>
                </a:solidFill>
              </a:rPr>
              <a:t>If required</a:t>
            </a:r>
          </a:p>
          <a:p>
            <a:r>
              <a:rPr lang="en-AU" sz="1000" dirty="0">
                <a:solidFill>
                  <a:schemeClr val="accent6"/>
                </a:solidFill>
              </a:rPr>
              <a:t>Documentation</a:t>
            </a:r>
            <a:br>
              <a:rPr lang="en-AU" sz="1000" dirty="0">
                <a:solidFill>
                  <a:schemeClr val="accent6"/>
                </a:solidFill>
              </a:rPr>
            </a:br>
            <a:r>
              <a:rPr lang="en-AU" sz="1000" dirty="0">
                <a:solidFill>
                  <a:schemeClr val="accent6"/>
                </a:solidFill>
              </a:rPr>
              <a:t>is missing</a:t>
            </a:r>
          </a:p>
        </p:txBody>
      </p:sp>
      <p:sp>
        <p:nvSpPr>
          <p:cNvPr id="38" name="Rectangle 37">
            <a:extLst>
              <a:ext uri="{FF2B5EF4-FFF2-40B4-BE49-F238E27FC236}">
                <a16:creationId xmlns:a16="http://schemas.microsoft.com/office/drawing/2014/main" id="{060ECCDD-4E7D-C986-1F7B-4157D788B789}"/>
              </a:ext>
            </a:extLst>
          </p:cNvPr>
          <p:cNvSpPr/>
          <p:nvPr/>
        </p:nvSpPr>
        <p:spPr>
          <a:xfrm>
            <a:off x="216924" y="4287868"/>
            <a:ext cx="998612" cy="1600243"/>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000" dirty="0">
                <a:solidFill>
                  <a:schemeClr val="accent6"/>
                </a:solidFill>
              </a:rPr>
              <a:t>Customer fills out a pre-application advice request form (questions included in page 1 of this document) on the website. They submit it together with required documentation.</a:t>
            </a:r>
            <a:br>
              <a:rPr lang="en-AU" sz="1000" dirty="0">
                <a:solidFill>
                  <a:schemeClr val="accent6"/>
                </a:solidFill>
              </a:rPr>
            </a:br>
            <a:endParaRPr lang="en-AU" sz="1000" dirty="0">
              <a:solidFill>
                <a:schemeClr val="accent6"/>
              </a:solidFill>
            </a:endParaRPr>
          </a:p>
        </p:txBody>
      </p:sp>
      <p:sp>
        <p:nvSpPr>
          <p:cNvPr id="39" name="Rectangle 38">
            <a:extLst>
              <a:ext uri="{FF2B5EF4-FFF2-40B4-BE49-F238E27FC236}">
                <a16:creationId xmlns:a16="http://schemas.microsoft.com/office/drawing/2014/main" id="{52114080-D44B-9834-C2EE-475F90C957BC}"/>
              </a:ext>
            </a:extLst>
          </p:cNvPr>
          <p:cNvSpPr/>
          <p:nvPr/>
        </p:nvSpPr>
        <p:spPr>
          <a:xfrm>
            <a:off x="1307816" y="4287869"/>
            <a:ext cx="986074" cy="2964986"/>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spcAft>
                <a:spcPts val="600"/>
              </a:spcAft>
            </a:pPr>
            <a:r>
              <a:rPr lang="en-AU" sz="1000" dirty="0">
                <a:solidFill>
                  <a:schemeClr val="accent6"/>
                </a:solidFill>
              </a:rPr>
              <a:t>Customer receives an automated email response acknowledging their request and setting timeframe expectations.</a:t>
            </a:r>
          </a:p>
          <a:p>
            <a:pPr>
              <a:spcAft>
                <a:spcPts val="600"/>
              </a:spcAft>
            </a:pPr>
            <a:r>
              <a:rPr lang="en-AU" sz="1000" i="1" dirty="0">
                <a:solidFill>
                  <a:schemeClr val="accent6"/>
                </a:solidFill>
              </a:rPr>
              <a:t>Future state consideration: </a:t>
            </a:r>
            <a:r>
              <a:rPr lang="en-AU" sz="1000" dirty="0">
                <a:solidFill>
                  <a:schemeClr val="accent6"/>
                </a:solidFill>
              </a:rPr>
              <a:t>Customer chooses a date and time for the meeting through a booking system.</a:t>
            </a:r>
          </a:p>
          <a:p>
            <a:pPr>
              <a:spcAft>
                <a:spcPts val="600"/>
              </a:spcAft>
            </a:pPr>
            <a:r>
              <a:rPr lang="en-AU" sz="1000" b="1" dirty="0">
                <a:solidFill>
                  <a:schemeClr val="accent6"/>
                </a:solidFill>
              </a:rPr>
              <a:t>Instant</a:t>
            </a:r>
          </a:p>
        </p:txBody>
      </p:sp>
      <p:sp>
        <p:nvSpPr>
          <p:cNvPr id="40" name="Rectangle 39">
            <a:extLst>
              <a:ext uri="{FF2B5EF4-FFF2-40B4-BE49-F238E27FC236}">
                <a16:creationId xmlns:a16="http://schemas.microsoft.com/office/drawing/2014/main" id="{D496E696-4BC7-3990-B5B9-4214DEB5074A}"/>
              </a:ext>
            </a:extLst>
          </p:cNvPr>
          <p:cNvSpPr/>
          <p:nvPr/>
        </p:nvSpPr>
        <p:spPr>
          <a:xfrm>
            <a:off x="2394236" y="4287869"/>
            <a:ext cx="725016" cy="1600242"/>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000" dirty="0">
                <a:solidFill>
                  <a:schemeClr val="accent6"/>
                </a:solidFill>
              </a:rPr>
              <a:t>Planning admin lodges request into </a:t>
            </a:r>
            <a:r>
              <a:rPr lang="en-AU" sz="1000" dirty="0">
                <a:solidFill>
                  <a:schemeClr val="accent6"/>
                </a:solidFill>
                <a:highlight>
                  <a:srgbClr val="FFFF00"/>
                </a:highlight>
              </a:rPr>
              <a:t>&lt;insert council software&gt;</a:t>
            </a:r>
            <a:r>
              <a:rPr lang="en-AU" sz="1000" dirty="0">
                <a:solidFill>
                  <a:schemeClr val="accent6"/>
                </a:solidFill>
              </a:rPr>
              <a:t> .</a:t>
            </a:r>
          </a:p>
        </p:txBody>
      </p:sp>
      <p:sp>
        <p:nvSpPr>
          <p:cNvPr id="87" name="Rectangle 86">
            <a:extLst>
              <a:ext uri="{FF2B5EF4-FFF2-40B4-BE49-F238E27FC236}">
                <a16:creationId xmlns:a16="http://schemas.microsoft.com/office/drawing/2014/main" id="{5B42D8BF-96CC-D6BA-D2B1-60D9367B2672}"/>
              </a:ext>
              <a:ext uri="{C183D7F6-B498-43B3-948B-1728B52AA6E4}">
                <adec:decorative xmlns:adec="http://schemas.microsoft.com/office/drawing/2017/decorative" val="1"/>
              </a:ext>
            </a:extLst>
          </p:cNvPr>
          <p:cNvSpPr/>
          <p:nvPr/>
        </p:nvSpPr>
        <p:spPr>
          <a:xfrm>
            <a:off x="1107180" y="3884447"/>
            <a:ext cx="8563343" cy="169625"/>
          </a:xfrm>
          <a:prstGeom prst="rect">
            <a:avLst/>
          </a:prstGeom>
          <a:solidFill>
            <a:srgbClr val="F2F2F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6" name="Rectangle: Rounded Corners 25">
            <a:extLst>
              <a:ext uri="{FF2B5EF4-FFF2-40B4-BE49-F238E27FC236}">
                <a16:creationId xmlns:a16="http://schemas.microsoft.com/office/drawing/2014/main" id="{EB0E1125-2C43-9D18-23E9-5CD515E285A3}"/>
              </a:ext>
              <a:ext uri="{C183D7F6-B498-43B3-948B-1728B52AA6E4}">
                <adec:decorative xmlns:adec="http://schemas.microsoft.com/office/drawing/2017/decorative" val="1"/>
              </a:ext>
            </a:extLst>
          </p:cNvPr>
          <p:cNvSpPr/>
          <p:nvPr/>
        </p:nvSpPr>
        <p:spPr>
          <a:xfrm>
            <a:off x="3716345" y="3011719"/>
            <a:ext cx="2207342" cy="948830"/>
          </a:xfrm>
          <a:custGeom>
            <a:avLst/>
            <a:gdLst>
              <a:gd name="connsiteX0" fmla="*/ 0 w 4445430"/>
              <a:gd name="connsiteY0" fmla="*/ 794808 h 3268393"/>
              <a:gd name="connsiteX1" fmla="*/ 794808 w 4445430"/>
              <a:gd name="connsiteY1" fmla="*/ 0 h 3268393"/>
              <a:gd name="connsiteX2" fmla="*/ 3650622 w 4445430"/>
              <a:gd name="connsiteY2" fmla="*/ 0 h 3268393"/>
              <a:gd name="connsiteX3" fmla="*/ 4445430 w 4445430"/>
              <a:gd name="connsiteY3" fmla="*/ 794808 h 3268393"/>
              <a:gd name="connsiteX4" fmla="*/ 4445430 w 4445430"/>
              <a:gd name="connsiteY4" fmla="*/ 2473585 h 3268393"/>
              <a:gd name="connsiteX5" fmla="*/ 3650622 w 4445430"/>
              <a:gd name="connsiteY5" fmla="*/ 3268393 h 3268393"/>
              <a:gd name="connsiteX6" fmla="*/ 794808 w 4445430"/>
              <a:gd name="connsiteY6" fmla="*/ 3268393 h 3268393"/>
              <a:gd name="connsiteX7" fmla="*/ 0 w 4445430"/>
              <a:gd name="connsiteY7" fmla="*/ 2473585 h 3268393"/>
              <a:gd name="connsiteX8" fmla="*/ 0 w 4445430"/>
              <a:gd name="connsiteY8" fmla="*/ 794808 h 3268393"/>
              <a:gd name="connsiteX0" fmla="*/ 4445430 w 4536870"/>
              <a:gd name="connsiteY0" fmla="*/ 2473585 h 3268393"/>
              <a:gd name="connsiteX1" fmla="*/ 3650622 w 4536870"/>
              <a:gd name="connsiteY1" fmla="*/ 3268393 h 3268393"/>
              <a:gd name="connsiteX2" fmla="*/ 794808 w 4536870"/>
              <a:gd name="connsiteY2" fmla="*/ 3268393 h 3268393"/>
              <a:gd name="connsiteX3" fmla="*/ 0 w 4536870"/>
              <a:gd name="connsiteY3" fmla="*/ 2473585 h 3268393"/>
              <a:gd name="connsiteX4" fmla="*/ 0 w 4536870"/>
              <a:gd name="connsiteY4" fmla="*/ 794808 h 3268393"/>
              <a:gd name="connsiteX5" fmla="*/ 794808 w 4536870"/>
              <a:gd name="connsiteY5" fmla="*/ 0 h 3268393"/>
              <a:gd name="connsiteX6" fmla="*/ 3650622 w 4536870"/>
              <a:gd name="connsiteY6" fmla="*/ 0 h 3268393"/>
              <a:gd name="connsiteX7" fmla="*/ 4445430 w 4536870"/>
              <a:gd name="connsiteY7" fmla="*/ 794808 h 3268393"/>
              <a:gd name="connsiteX8" fmla="*/ 4536870 w 4536870"/>
              <a:gd name="connsiteY8" fmla="*/ 2565025 h 3268393"/>
              <a:gd name="connsiteX0" fmla="*/ 3650622 w 4536870"/>
              <a:gd name="connsiteY0" fmla="*/ 3268393 h 3268393"/>
              <a:gd name="connsiteX1" fmla="*/ 794808 w 4536870"/>
              <a:gd name="connsiteY1" fmla="*/ 3268393 h 3268393"/>
              <a:gd name="connsiteX2" fmla="*/ 0 w 4536870"/>
              <a:gd name="connsiteY2" fmla="*/ 2473585 h 3268393"/>
              <a:gd name="connsiteX3" fmla="*/ 0 w 4536870"/>
              <a:gd name="connsiteY3" fmla="*/ 794808 h 3268393"/>
              <a:gd name="connsiteX4" fmla="*/ 794808 w 4536870"/>
              <a:gd name="connsiteY4" fmla="*/ 0 h 3268393"/>
              <a:gd name="connsiteX5" fmla="*/ 3650622 w 4536870"/>
              <a:gd name="connsiteY5" fmla="*/ 0 h 3268393"/>
              <a:gd name="connsiteX6" fmla="*/ 4445430 w 4536870"/>
              <a:gd name="connsiteY6" fmla="*/ 794808 h 3268393"/>
              <a:gd name="connsiteX7" fmla="*/ 4536870 w 4536870"/>
              <a:gd name="connsiteY7" fmla="*/ 2565025 h 3268393"/>
              <a:gd name="connsiteX0" fmla="*/ 794808 w 4536870"/>
              <a:gd name="connsiteY0" fmla="*/ 3268393 h 3268393"/>
              <a:gd name="connsiteX1" fmla="*/ 0 w 4536870"/>
              <a:gd name="connsiteY1" fmla="*/ 2473585 h 3268393"/>
              <a:gd name="connsiteX2" fmla="*/ 0 w 4536870"/>
              <a:gd name="connsiteY2" fmla="*/ 794808 h 3268393"/>
              <a:gd name="connsiteX3" fmla="*/ 794808 w 4536870"/>
              <a:gd name="connsiteY3" fmla="*/ 0 h 3268393"/>
              <a:gd name="connsiteX4" fmla="*/ 3650622 w 4536870"/>
              <a:gd name="connsiteY4" fmla="*/ 0 h 3268393"/>
              <a:gd name="connsiteX5" fmla="*/ 4445430 w 4536870"/>
              <a:gd name="connsiteY5" fmla="*/ 794808 h 3268393"/>
              <a:gd name="connsiteX6" fmla="*/ 4536870 w 4536870"/>
              <a:gd name="connsiteY6" fmla="*/ 2565025 h 3268393"/>
              <a:gd name="connsiteX0" fmla="*/ 0 w 4536870"/>
              <a:gd name="connsiteY0" fmla="*/ 2473585 h 2565025"/>
              <a:gd name="connsiteX1" fmla="*/ 0 w 4536870"/>
              <a:gd name="connsiteY1" fmla="*/ 794808 h 2565025"/>
              <a:gd name="connsiteX2" fmla="*/ 794808 w 4536870"/>
              <a:gd name="connsiteY2" fmla="*/ 0 h 2565025"/>
              <a:gd name="connsiteX3" fmla="*/ 3650622 w 4536870"/>
              <a:gd name="connsiteY3" fmla="*/ 0 h 2565025"/>
              <a:gd name="connsiteX4" fmla="*/ 4445430 w 4536870"/>
              <a:gd name="connsiteY4" fmla="*/ 794808 h 2565025"/>
              <a:gd name="connsiteX5" fmla="*/ 4536870 w 4536870"/>
              <a:gd name="connsiteY5" fmla="*/ 2565025 h 2565025"/>
              <a:gd name="connsiteX0" fmla="*/ 0 w 4445430"/>
              <a:gd name="connsiteY0" fmla="*/ 2473585 h 2473585"/>
              <a:gd name="connsiteX1" fmla="*/ 0 w 4445430"/>
              <a:gd name="connsiteY1" fmla="*/ 794808 h 2473585"/>
              <a:gd name="connsiteX2" fmla="*/ 794808 w 4445430"/>
              <a:gd name="connsiteY2" fmla="*/ 0 h 2473585"/>
              <a:gd name="connsiteX3" fmla="*/ 3650622 w 4445430"/>
              <a:gd name="connsiteY3" fmla="*/ 0 h 2473585"/>
              <a:gd name="connsiteX4" fmla="*/ 4445430 w 4445430"/>
              <a:gd name="connsiteY4" fmla="*/ 794808 h 2473585"/>
              <a:gd name="connsiteX0" fmla="*/ 0 w 3650622"/>
              <a:gd name="connsiteY0" fmla="*/ 2473585 h 2473585"/>
              <a:gd name="connsiteX1" fmla="*/ 0 w 3650622"/>
              <a:gd name="connsiteY1" fmla="*/ 794808 h 2473585"/>
              <a:gd name="connsiteX2" fmla="*/ 794808 w 3650622"/>
              <a:gd name="connsiteY2" fmla="*/ 0 h 2473585"/>
              <a:gd name="connsiteX3" fmla="*/ 3650622 w 3650622"/>
              <a:gd name="connsiteY3" fmla="*/ 0 h 2473585"/>
              <a:gd name="connsiteX0" fmla="*/ 7502 w 3658124"/>
              <a:gd name="connsiteY0" fmla="*/ 2473585 h 2473585"/>
              <a:gd name="connsiteX1" fmla="*/ 0 w 3658124"/>
              <a:gd name="connsiteY1" fmla="*/ 1378069 h 2473585"/>
              <a:gd name="connsiteX2" fmla="*/ 7502 w 3658124"/>
              <a:gd name="connsiteY2" fmla="*/ 794808 h 2473585"/>
              <a:gd name="connsiteX3" fmla="*/ 802310 w 3658124"/>
              <a:gd name="connsiteY3" fmla="*/ 0 h 2473585"/>
              <a:gd name="connsiteX4" fmla="*/ 3658124 w 3658124"/>
              <a:gd name="connsiteY4" fmla="*/ 0 h 2473585"/>
              <a:gd name="connsiteX0" fmla="*/ 7502 w 3658124"/>
              <a:gd name="connsiteY0" fmla="*/ 2473585 h 2473585"/>
              <a:gd name="connsiteX1" fmla="*/ 0 w 3658124"/>
              <a:gd name="connsiteY1" fmla="*/ 1378069 h 2473585"/>
              <a:gd name="connsiteX2" fmla="*/ 7502 w 3658124"/>
              <a:gd name="connsiteY2" fmla="*/ 794808 h 2473585"/>
              <a:gd name="connsiteX3" fmla="*/ 802310 w 3658124"/>
              <a:gd name="connsiteY3" fmla="*/ 0 h 2473585"/>
              <a:gd name="connsiteX4" fmla="*/ 2971800 w 3658124"/>
              <a:gd name="connsiteY4" fmla="*/ 119 h 2473585"/>
              <a:gd name="connsiteX5" fmla="*/ 3658124 w 3658124"/>
              <a:gd name="connsiteY5" fmla="*/ 0 h 2473585"/>
              <a:gd name="connsiteX0" fmla="*/ 7502 w 2971800"/>
              <a:gd name="connsiteY0" fmla="*/ 2473585 h 2473585"/>
              <a:gd name="connsiteX1" fmla="*/ 0 w 2971800"/>
              <a:gd name="connsiteY1" fmla="*/ 1378069 h 2473585"/>
              <a:gd name="connsiteX2" fmla="*/ 7502 w 2971800"/>
              <a:gd name="connsiteY2" fmla="*/ 794808 h 2473585"/>
              <a:gd name="connsiteX3" fmla="*/ 802310 w 2971800"/>
              <a:gd name="connsiteY3" fmla="*/ 0 h 2473585"/>
              <a:gd name="connsiteX4" fmla="*/ 2971800 w 2971800"/>
              <a:gd name="connsiteY4" fmla="*/ 119 h 2473585"/>
              <a:gd name="connsiteX0" fmla="*/ 0 w 2971800"/>
              <a:gd name="connsiteY0" fmla="*/ 1378069 h 1378069"/>
              <a:gd name="connsiteX1" fmla="*/ 7502 w 2971800"/>
              <a:gd name="connsiteY1" fmla="*/ 794808 h 1378069"/>
              <a:gd name="connsiteX2" fmla="*/ 802310 w 2971800"/>
              <a:gd name="connsiteY2" fmla="*/ 0 h 1378069"/>
              <a:gd name="connsiteX3" fmla="*/ 2971800 w 2971800"/>
              <a:gd name="connsiteY3" fmla="*/ 119 h 1378069"/>
              <a:gd name="connsiteX0" fmla="*/ 0 w 4373880"/>
              <a:gd name="connsiteY0" fmla="*/ 1378069 h 1378069"/>
              <a:gd name="connsiteX1" fmla="*/ 7502 w 4373880"/>
              <a:gd name="connsiteY1" fmla="*/ 794808 h 1378069"/>
              <a:gd name="connsiteX2" fmla="*/ 802310 w 4373880"/>
              <a:gd name="connsiteY2" fmla="*/ 0 h 1378069"/>
              <a:gd name="connsiteX3" fmla="*/ 4373880 w 4373880"/>
              <a:gd name="connsiteY3" fmla="*/ 119 h 1378069"/>
              <a:gd name="connsiteX0" fmla="*/ 0 w 3161892"/>
              <a:gd name="connsiteY0" fmla="*/ 1378069 h 1378069"/>
              <a:gd name="connsiteX1" fmla="*/ 7502 w 3161892"/>
              <a:gd name="connsiteY1" fmla="*/ 794808 h 1378069"/>
              <a:gd name="connsiteX2" fmla="*/ 802310 w 3161892"/>
              <a:gd name="connsiteY2" fmla="*/ 0 h 1378069"/>
              <a:gd name="connsiteX3" fmla="*/ 3161892 w 3161892"/>
              <a:gd name="connsiteY3" fmla="*/ 119 h 1378069"/>
              <a:gd name="connsiteX0" fmla="*/ 0 w 2310071"/>
              <a:gd name="connsiteY0" fmla="*/ 1383030 h 1383030"/>
              <a:gd name="connsiteX1" fmla="*/ 7502 w 2310071"/>
              <a:gd name="connsiteY1" fmla="*/ 799769 h 1383030"/>
              <a:gd name="connsiteX2" fmla="*/ 802310 w 2310071"/>
              <a:gd name="connsiteY2" fmla="*/ 4961 h 1383030"/>
              <a:gd name="connsiteX3" fmla="*/ 2310071 w 2310071"/>
              <a:gd name="connsiteY3" fmla="*/ 0 h 1383030"/>
              <a:gd name="connsiteX0" fmla="*/ 0 w 2605694"/>
              <a:gd name="connsiteY0" fmla="*/ 1383030 h 1383030"/>
              <a:gd name="connsiteX1" fmla="*/ 7502 w 2605694"/>
              <a:gd name="connsiteY1" fmla="*/ 799769 h 1383030"/>
              <a:gd name="connsiteX2" fmla="*/ 802310 w 2605694"/>
              <a:gd name="connsiteY2" fmla="*/ 4961 h 1383030"/>
              <a:gd name="connsiteX3" fmla="*/ 2605694 w 2605694"/>
              <a:gd name="connsiteY3" fmla="*/ 0 h 1383030"/>
              <a:gd name="connsiteX0" fmla="*/ 0 w 2613178"/>
              <a:gd name="connsiteY0" fmla="*/ 1195077 h 1195077"/>
              <a:gd name="connsiteX1" fmla="*/ 14986 w 2613178"/>
              <a:gd name="connsiteY1" fmla="*/ 799769 h 1195077"/>
              <a:gd name="connsiteX2" fmla="*/ 809794 w 2613178"/>
              <a:gd name="connsiteY2" fmla="*/ 4961 h 1195077"/>
              <a:gd name="connsiteX3" fmla="*/ 2613178 w 2613178"/>
              <a:gd name="connsiteY3" fmla="*/ 0 h 1195077"/>
              <a:gd name="connsiteX0" fmla="*/ 0 w 2607191"/>
              <a:gd name="connsiteY0" fmla="*/ 1195077 h 1195077"/>
              <a:gd name="connsiteX1" fmla="*/ 8999 w 2607191"/>
              <a:gd name="connsiteY1" fmla="*/ 799769 h 1195077"/>
              <a:gd name="connsiteX2" fmla="*/ 803807 w 2607191"/>
              <a:gd name="connsiteY2" fmla="*/ 4961 h 1195077"/>
              <a:gd name="connsiteX3" fmla="*/ 2607191 w 2607191"/>
              <a:gd name="connsiteY3" fmla="*/ 0 h 1195077"/>
              <a:gd name="connsiteX0" fmla="*/ 0 w 2601578"/>
              <a:gd name="connsiteY0" fmla="*/ 1195077 h 1195077"/>
              <a:gd name="connsiteX1" fmla="*/ 3386 w 2601578"/>
              <a:gd name="connsiteY1" fmla="*/ 799769 h 1195077"/>
              <a:gd name="connsiteX2" fmla="*/ 798194 w 2601578"/>
              <a:gd name="connsiteY2" fmla="*/ 4961 h 1195077"/>
              <a:gd name="connsiteX3" fmla="*/ 2601578 w 2601578"/>
              <a:gd name="connsiteY3" fmla="*/ 0 h 1195077"/>
            </a:gdLst>
            <a:ahLst/>
            <a:cxnLst>
              <a:cxn ang="0">
                <a:pos x="connsiteX0" y="connsiteY0"/>
              </a:cxn>
              <a:cxn ang="0">
                <a:pos x="connsiteX1" y="connsiteY1"/>
              </a:cxn>
              <a:cxn ang="0">
                <a:pos x="connsiteX2" y="connsiteY2"/>
              </a:cxn>
              <a:cxn ang="0">
                <a:pos x="connsiteX3" y="connsiteY3"/>
              </a:cxn>
            </a:cxnLst>
            <a:rect l="l" t="t" r="r" b="b"/>
            <a:pathLst>
              <a:path w="2601578" h="1195077">
                <a:moveTo>
                  <a:pt x="0" y="1195077"/>
                </a:moveTo>
                <a:cubicBezTo>
                  <a:pt x="2501" y="1000657"/>
                  <a:pt x="885" y="994189"/>
                  <a:pt x="3386" y="799769"/>
                </a:cubicBezTo>
                <a:cubicBezTo>
                  <a:pt x="3386" y="360809"/>
                  <a:pt x="359234" y="4961"/>
                  <a:pt x="798194" y="4961"/>
                </a:cubicBezTo>
                <a:lnTo>
                  <a:pt x="2601578" y="0"/>
                </a:lnTo>
              </a:path>
            </a:pathLst>
          </a:custGeom>
          <a:noFill/>
          <a:ln w="1936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Rectangle 40">
            <a:extLst>
              <a:ext uri="{FF2B5EF4-FFF2-40B4-BE49-F238E27FC236}">
                <a16:creationId xmlns:a16="http://schemas.microsoft.com/office/drawing/2014/main" id="{892A37E4-D7CB-8B64-0EB5-790EC3808D64}"/>
              </a:ext>
            </a:extLst>
          </p:cNvPr>
          <p:cNvSpPr/>
          <p:nvPr/>
        </p:nvSpPr>
        <p:spPr>
          <a:xfrm>
            <a:off x="3219723" y="4287869"/>
            <a:ext cx="981830" cy="1600242"/>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t"/>
          <a:lstStyle/>
          <a:p>
            <a:pPr>
              <a:spcAft>
                <a:spcPts val="600"/>
              </a:spcAft>
            </a:pPr>
            <a:r>
              <a:rPr lang="en-AU" sz="1000" dirty="0">
                <a:solidFill>
                  <a:schemeClr val="accent6"/>
                </a:solidFill>
                <a:highlight>
                  <a:srgbClr val="FFFF00"/>
                </a:highlight>
              </a:rPr>
              <a:t>&lt;insert responsible person&gt;</a:t>
            </a:r>
            <a:r>
              <a:rPr lang="en-AU" sz="1000" dirty="0">
                <a:solidFill>
                  <a:schemeClr val="accent6"/>
                </a:solidFill>
              </a:rPr>
              <a:t> reviews the requests and set a time to allocate the pre-apps to planners based on planner’s availability and seniority.</a:t>
            </a:r>
          </a:p>
          <a:p>
            <a:r>
              <a:rPr lang="en-AU" sz="1000" b="1" dirty="0">
                <a:solidFill>
                  <a:schemeClr val="accent6"/>
                </a:solidFill>
              </a:rPr>
              <a:t>Allocation timeframe</a:t>
            </a:r>
          </a:p>
          <a:p>
            <a:r>
              <a:rPr lang="en-AU" sz="1000" dirty="0">
                <a:solidFill>
                  <a:schemeClr val="accent6"/>
                </a:solidFill>
                <a:highlight>
                  <a:srgbClr val="FFFF00"/>
                </a:highlight>
              </a:rPr>
              <a:t>&lt;insert frequency of allocation &gt;</a:t>
            </a:r>
            <a:r>
              <a:rPr lang="en-AU" sz="1000" dirty="0">
                <a:solidFill>
                  <a:schemeClr val="accent6"/>
                </a:solidFill>
              </a:rPr>
              <a:t> </a:t>
            </a:r>
            <a:endParaRPr lang="en-AU" sz="1000" b="1" dirty="0">
              <a:solidFill>
                <a:schemeClr val="accent6"/>
              </a:solidFill>
              <a:cs typeface="Segoe UI"/>
            </a:endParaRPr>
          </a:p>
        </p:txBody>
      </p:sp>
      <p:sp>
        <p:nvSpPr>
          <p:cNvPr id="25" name="TextBox 24">
            <a:extLst>
              <a:ext uri="{FF2B5EF4-FFF2-40B4-BE49-F238E27FC236}">
                <a16:creationId xmlns:a16="http://schemas.microsoft.com/office/drawing/2014/main" id="{8E804640-E0AA-4DB2-7801-A7F7D1A4FC5A}"/>
              </a:ext>
            </a:extLst>
          </p:cNvPr>
          <p:cNvSpPr txBox="1"/>
          <p:nvPr/>
        </p:nvSpPr>
        <p:spPr>
          <a:xfrm rot="18880810">
            <a:off x="3709817" y="3065055"/>
            <a:ext cx="1101799" cy="991383"/>
          </a:xfrm>
          <a:prstGeom prst="rect">
            <a:avLst/>
          </a:prstGeom>
          <a:noFill/>
        </p:spPr>
        <p:txBody>
          <a:bodyPr wrap="none" rtlCol="0">
            <a:prstTxWarp prst="textArchUp">
              <a:avLst/>
            </a:prstTxWarp>
            <a:spAutoFit/>
          </a:bodyPr>
          <a:lstStyle/>
          <a:p>
            <a:pPr algn="ctr"/>
            <a:r>
              <a:rPr lang="en-AU" sz="1000" dirty="0">
                <a:solidFill>
                  <a:srgbClr val="FFFFFF"/>
                </a:solidFill>
                <a:latin typeface="+mj-lt"/>
              </a:rPr>
              <a:t>Not recommended</a:t>
            </a:r>
          </a:p>
        </p:txBody>
      </p:sp>
      <p:sp>
        <p:nvSpPr>
          <p:cNvPr id="44" name="Rectangle 43">
            <a:extLst>
              <a:ext uri="{FF2B5EF4-FFF2-40B4-BE49-F238E27FC236}">
                <a16:creationId xmlns:a16="http://schemas.microsoft.com/office/drawing/2014/main" id="{2F74511D-4C69-7302-6010-23E088696EEF}"/>
              </a:ext>
            </a:extLst>
          </p:cNvPr>
          <p:cNvSpPr/>
          <p:nvPr/>
        </p:nvSpPr>
        <p:spPr>
          <a:xfrm>
            <a:off x="3999962" y="1945945"/>
            <a:ext cx="1511658" cy="739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r>
              <a:rPr lang="en-AU" sz="1000" dirty="0">
                <a:solidFill>
                  <a:schemeClr val="accent6"/>
                </a:solidFill>
              </a:rPr>
              <a:t>If a pre-application is not recommended (it’s a simple enquiry) the coordinator allocates it to a planner on duty to give the applicant a call.</a:t>
            </a:r>
          </a:p>
        </p:txBody>
      </p:sp>
      <p:sp>
        <p:nvSpPr>
          <p:cNvPr id="45" name="Rectangle 44">
            <a:extLst>
              <a:ext uri="{FF2B5EF4-FFF2-40B4-BE49-F238E27FC236}">
                <a16:creationId xmlns:a16="http://schemas.microsoft.com/office/drawing/2014/main" id="{4ADB820E-3787-0305-7C9A-A3FE468C47F6}"/>
              </a:ext>
            </a:extLst>
          </p:cNvPr>
          <p:cNvSpPr/>
          <p:nvPr/>
        </p:nvSpPr>
        <p:spPr>
          <a:xfrm>
            <a:off x="5659892" y="1945945"/>
            <a:ext cx="900726" cy="7396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b"/>
          <a:lstStyle/>
          <a:p>
            <a:r>
              <a:rPr lang="en-AU" sz="1000" dirty="0">
                <a:solidFill>
                  <a:schemeClr val="accent6"/>
                </a:solidFill>
              </a:rPr>
              <a:t>The planning team addresses the </a:t>
            </a:r>
            <a:r>
              <a:rPr lang="en-AU" sz="1000" dirty="0">
                <a:solidFill>
                  <a:schemeClr val="accent6"/>
                </a:solidFill>
                <a:latin typeface="Arial" panose="020B0604020202020204" pitchFamily="34" charset="0"/>
                <a:cs typeface="Arial" panose="020B0604020202020204" pitchFamily="34" charset="0"/>
              </a:rPr>
              <a:t>enquiry</a:t>
            </a:r>
            <a:r>
              <a:rPr lang="en-AU" sz="1000" dirty="0">
                <a:solidFill>
                  <a:schemeClr val="accent6"/>
                </a:solidFill>
              </a:rPr>
              <a:t> with the customer</a:t>
            </a:r>
          </a:p>
        </p:txBody>
      </p:sp>
      <p:cxnSp>
        <p:nvCxnSpPr>
          <p:cNvPr id="5" name="Straight Connector 4">
            <a:extLst>
              <a:ext uri="{FF2B5EF4-FFF2-40B4-BE49-F238E27FC236}">
                <a16:creationId xmlns:a16="http://schemas.microsoft.com/office/drawing/2014/main" id="{388C5903-7011-D1F7-6856-28F7F1FEE68C}"/>
              </a:ext>
              <a:ext uri="{C183D7F6-B498-43B3-948B-1728B52AA6E4}">
                <adec:decorative xmlns:adec="http://schemas.microsoft.com/office/drawing/2017/decorative" val="1"/>
              </a:ext>
            </a:extLst>
          </p:cNvPr>
          <p:cNvCxnSpPr>
            <a:cxnSpLocks/>
            <a:endCxn id="119" idx="1"/>
          </p:cNvCxnSpPr>
          <p:nvPr/>
        </p:nvCxnSpPr>
        <p:spPr>
          <a:xfrm flipV="1">
            <a:off x="811224" y="3969260"/>
            <a:ext cx="9078302" cy="5079"/>
          </a:xfrm>
          <a:prstGeom prst="line">
            <a:avLst/>
          </a:prstGeom>
          <a:ln w="193675">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95" name="Group 194">
            <a:extLst>
              <a:ext uri="{FF2B5EF4-FFF2-40B4-BE49-F238E27FC236}">
                <a16:creationId xmlns:a16="http://schemas.microsoft.com/office/drawing/2014/main" id="{7422F674-3379-5FFB-A43C-8F93888FA0AA}"/>
              </a:ext>
              <a:ext uri="{C183D7F6-B498-43B3-948B-1728B52AA6E4}">
                <adec:decorative xmlns:adec="http://schemas.microsoft.com/office/drawing/2017/decorative" val="1"/>
              </a:ext>
            </a:extLst>
          </p:cNvPr>
          <p:cNvGrpSpPr/>
          <p:nvPr/>
        </p:nvGrpSpPr>
        <p:grpSpPr>
          <a:xfrm>
            <a:off x="1579748" y="3748155"/>
            <a:ext cx="442209" cy="442209"/>
            <a:chOff x="1579748" y="3998878"/>
            <a:chExt cx="442209" cy="442209"/>
          </a:xfrm>
        </p:grpSpPr>
        <p:sp>
          <p:nvSpPr>
            <p:cNvPr id="7" name="Oval 6">
              <a:hlinkClick r:id="rId2" action="ppaction://hlinksldjump"/>
              <a:extLst>
                <a:ext uri="{FF2B5EF4-FFF2-40B4-BE49-F238E27FC236}">
                  <a16:creationId xmlns:a16="http://schemas.microsoft.com/office/drawing/2014/main" id="{82A9FCAA-AC80-CC97-A65E-51CC28862133}"/>
                </a:ext>
              </a:extLst>
            </p:cNvPr>
            <p:cNvSpPr/>
            <p:nvPr/>
          </p:nvSpPr>
          <p:spPr>
            <a:xfrm>
              <a:off x="1579748" y="3998878"/>
              <a:ext cx="442209" cy="442209"/>
            </a:xfrm>
            <a:prstGeom prst="ellipse">
              <a:avLst/>
            </a:prstGeom>
            <a:solidFill>
              <a:schemeClr val="accent6"/>
            </a:solidFill>
            <a:ln w="349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34" name="Freeform 22">
              <a:hlinkClick r:id="rId2" action="ppaction://hlinksldjump"/>
              <a:extLst>
                <a:ext uri="{FF2B5EF4-FFF2-40B4-BE49-F238E27FC236}">
                  <a16:creationId xmlns:a16="http://schemas.microsoft.com/office/drawing/2014/main" id="{9632EF86-11C2-4AAE-3BDF-496AB93D7ECD}"/>
                </a:ext>
              </a:extLst>
            </p:cNvPr>
            <p:cNvSpPr>
              <a:spLocks noChangeAspect="1" noEditPoints="1"/>
            </p:cNvSpPr>
            <p:nvPr/>
          </p:nvSpPr>
          <p:spPr bwMode="auto">
            <a:xfrm>
              <a:off x="1704134" y="4148942"/>
              <a:ext cx="193436" cy="142081"/>
            </a:xfrm>
            <a:custGeom>
              <a:avLst/>
              <a:gdLst>
                <a:gd name="T0" fmla="*/ 15 w 169"/>
                <a:gd name="T1" fmla="*/ 123 h 123"/>
                <a:gd name="T2" fmla="*/ 155 w 169"/>
                <a:gd name="T3" fmla="*/ 123 h 123"/>
                <a:gd name="T4" fmla="*/ 169 w 169"/>
                <a:gd name="T5" fmla="*/ 108 h 123"/>
                <a:gd name="T6" fmla="*/ 169 w 169"/>
                <a:gd name="T7" fmla="*/ 15 h 123"/>
                <a:gd name="T8" fmla="*/ 155 w 169"/>
                <a:gd name="T9" fmla="*/ 0 h 123"/>
                <a:gd name="T10" fmla="*/ 15 w 169"/>
                <a:gd name="T11" fmla="*/ 0 h 123"/>
                <a:gd name="T12" fmla="*/ 0 w 169"/>
                <a:gd name="T13" fmla="*/ 15 h 123"/>
                <a:gd name="T14" fmla="*/ 0 w 169"/>
                <a:gd name="T15" fmla="*/ 108 h 123"/>
                <a:gd name="T16" fmla="*/ 15 w 169"/>
                <a:gd name="T17" fmla="*/ 123 h 123"/>
                <a:gd name="T18" fmla="*/ 157 w 169"/>
                <a:gd name="T19" fmla="*/ 116 h 123"/>
                <a:gd name="T20" fmla="*/ 155 w 169"/>
                <a:gd name="T21" fmla="*/ 116 h 123"/>
                <a:gd name="T22" fmla="*/ 15 w 169"/>
                <a:gd name="T23" fmla="*/ 116 h 123"/>
                <a:gd name="T24" fmla="*/ 13 w 169"/>
                <a:gd name="T25" fmla="*/ 116 h 123"/>
                <a:gd name="T26" fmla="*/ 12 w 169"/>
                <a:gd name="T27" fmla="*/ 115 h 123"/>
                <a:gd name="T28" fmla="*/ 61 w 169"/>
                <a:gd name="T29" fmla="*/ 66 h 123"/>
                <a:gd name="T30" fmla="*/ 75 w 169"/>
                <a:gd name="T31" fmla="*/ 80 h 123"/>
                <a:gd name="T32" fmla="*/ 85 w 169"/>
                <a:gd name="T33" fmla="*/ 84 h 123"/>
                <a:gd name="T34" fmla="*/ 95 w 169"/>
                <a:gd name="T35" fmla="*/ 80 h 123"/>
                <a:gd name="T36" fmla="*/ 109 w 169"/>
                <a:gd name="T37" fmla="*/ 66 h 123"/>
                <a:gd name="T38" fmla="*/ 109 w 169"/>
                <a:gd name="T39" fmla="*/ 67 h 123"/>
                <a:gd name="T40" fmla="*/ 158 w 169"/>
                <a:gd name="T41" fmla="*/ 115 h 123"/>
                <a:gd name="T42" fmla="*/ 157 w 169"/>
                <a:gd name="T43" fmla="*/ 116 h 123"/>
                <a:gd name="T44" fmla="*/ 163 w 169"/>
                <a:gd name="T45" fmla="*/ 14 h 123"/>
                <a:gd name="T46" fmla="*/ 163 w 169"/>
                <a:gd name="T47" fmla="*/ 15 h 123"/>
                <a:gd name="T48" fmla="*/ 163 w 169"/>
                <a:gd name="T49" fmla="*/ 108 h 123"/>
                <a:gd name="T50" fmla="*/ 163 w 169"/>
                <a:gd name="T51" fmla="*/ 109 h 123"/>
                <a:gd name="T52" fmla="*/ 162 w 169"/>
                <a:gd name="T53" fmla="*/ 110 h 123"/>
                <a:gd name="T54" fmla="*/ 114 w 169"/>
                <a:gd name="T55" fmla="*/ 62 h 123"/>
                <a:gd name="T56" fmla="*/ 162 w 169"/>
                <a:gd name="T57" fmla="*/ 13 h 123"/>
                <a:gd name="T58" fmla="*/ 163 w 169"/>
                <a:gd name="T59" fmla="*/ 14 h 123"/>
                <a:gd name="T60" fmla="*/ 13 w 169"/>
                <a:gd name="T61" fmla="*/ 7 h 123"/>
                <a:gd name="T62" fmla="*/ 15 w 169"/>
                <a:gd name="T63" fmla="*/ 7 h 123"/>
                <a:gd name="T64" fmla="*/ 155 w 169"/>
                <a:gd name="T65" fmla="*/ 7 h 123"/>
                <a:gd name="T66" fmla="*/ 157 w 169"/>
                <a:gd name="T67" fmla="*/ 7 h 123"/>
                <a:gd name="T68" fmla="*/ 158 w 169"/>
                <a:gd name="T69" fmla="*/ 8 h 123"/>
                <a:gd name="T70" fmla="*/ 91 w 169"/>
                <a:gd name="T71" fmla="*/ 75 h 123"/>
                <a:gd name="T72" fmla="*/ 85 w 169"/>
                <a:gd name="T73" fmla="*/ 78 h 123"/>
                <a:gd name="T74" fmla="*/ 79 w 169"/>
                <a:gd name="T75" fmla="*/ 75 h 123"/>
                <a:gd name="T76" fmla="*/ 12 w 169"/>
                <a:gd name="T77" fmla="*/ 8 h 123"/>
                <a:gd name="T78" fmla="*/ 13 w 169"/>
                <a:gd name="T79" fmla="*/ 7 h 123"/>
                <a:gd name="T80" fmla="*/ 7 w 169"/>
                <a:gd name="T81" fmla="*/ 15 h 123"/>
                <a:gd name="T82" fmla="*/ 7 w 169"/>
                <a:gd name="T83" fmla="*/ 14 h 123"/>
                <a:gd name="T84" fmla="*/ 7 w 169"/>
                <a:gd name="T85" fmla="*/ 13 h 123"/>
                <a:gd name="T86" fmla="*/ 56 w 169"/>
                <a:gd name="T87" fmla="*/ 62 h 123"/>
                <a:gd name="T88" fmla="*/ 7 w 169"/>
                <a:gd name="T89" fmla="*/ 110 h 123"/>
                <a:gd name="T90" fmla="*/ 7 w 169"/>
                <a:gd name="T91" fmla="*/ 109 h 123"/>
                <a:gd name="T92" fmla="*/ 7 w 169"/>
                <a:gd name="T93" fmla="*/ 108 h 123"/>
                <a:gd name="T94" fmla="*/ 7 w 169"/>
                <a:gd name="T95" fmla="*/ 1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9" h="123">
                  <a:moveTo>
                    <a:pt x="15" y="123"/>
                  </a:moveTo>
                  <a:cubicBezTo>
                    <a:pt x="155" y="123"/>
                    <a:pt x="155" y="123"/>
                    <a:pt x="155" y="123"/>
                  </a:cubicBezTo>
                  <a:cubicBezTo>
                    <a:pt x="163" y="123"/>
                    <a:pt x="169" y="116"/>
                    <a:pt x="169" y="108"/>
                  </a:cubicBezTo>
                  <a:cubicBezTo>
                    <a:pt x="169" y="15"/>
                    <a:pt x="169" y="15"/>
                    <a:pt x="169" y="15"/>
                  </a:cubicBezTo>
                  <a:cubicBezTo>
                    <a:pt x="169" y="7"/>
                    <a:pt x="163" y="0"/>
                    <a:pt x="155" y="0"/>
                  </a:cubicBezTo>
                  <a:cubicBezTo>
                    <a:pt x="15" y="0"/>
                    <a:pt x="15" y="0"/>
                    <a:pt x="15" y="0"/>
                  </a:cubicBezTo>
                  <a:cubicBezTo>
                    <a:pt x="7" y="0"/>
                    <a:pt x="0" y="7"/>
                    <a:pt x="0" y="15"/>
                  </a:cubicBezTo>
                  <a:cubicBezTo>
                    <a:pt x="0" y="108"/>
                    <a:pt x="0" y="108"/>
                    <a:pt x="0" y="108"/>
                  </a:cubicBezTo>
                  <a:cubicBezTo>
                    <a:pt x="0" y="116"/>
                    <a:pt x="7" y="123"/>
                    <a:pt x="15" y="123"/>
                  </a:cubicBezTo>
                  <a:close/>
                  <a:moveTo>
                    <a:pt x="157" y="116"/>
                  </a:moveTo>
                  <a:cubicBezTo>
                    <a:pt x="156" y="116"/>
                    <a:pt x="155" y="116"/>
                    <a:pt x="155" y="116"/>
                  </a:cubicBezTo>
                  <a:cubicBezTo>
                    <a:pt x="15" y="116"/>
                    <a:pt x="15" y="116"/>
                    <a:pt x="15" y="116"/>
                  </a:cubicBezTo>
                  <a:cubicBezTo>
                    <a:pt x="14" y="116"/>
                    <a:pt x="14" y="116"/>
                    <a:pt x="13" y="116"/>
                  </a:cubicBezTo>
                  <a:cubicBezTo>
                    <a:pt x="12" y="115"/>
                    <a:pt x="12" y="115"/>
                    <a:pt x="12" y="115"/>
                  </a:cubicBezTo>
                  <a:cubicBezTo>
                    <a:pt x="61" y="66"/>
                    <a:pt x="61" y="66"/>
                    <a:pt x="61" y="66"/>
                  </a:cubicBezTo>
                  <a:cubicBezTo>
                    <a:pt x="75" y="80"/>
                    <a:pt x="75" y="80"/>
                    <a:pt x="75" y="80"/>
                  </a:cubicBezTo>
                  <a:cubicBezTo>
                    <a:pt x="77" y="83"/>
                    <a:pt x="81" y="84"/>
                    <a:pt x="85" y="84"/>
                  </a:cubicBezTo>
                  <a:cubicBezTo>
                    <a:pt x="89" y="84"/>
                    <a:pt x="92" y="83"/>
                    <a:pt x="95" y="80"/>
                  </a:cubicBezTo>
                  <a:cubicBezTo>
                    <a:pt x="109" y="66"/>
                    <a:pt x="109" y="66"/>
                    <a:pt x="109" y="66"/>
                  </a:cubicBezTo>
                  <a:cubicBezTo>
                    <a:pt x="109" y="67"/>
                    <a:pt x="109" y="67"/>
                    <a:pt x="109" y="67"/>
                  </a:cubicBezTo>
                  <a:cubicBezTo>
                    <a:pt x="158" y="115"/>
                    <a:pt x="158" y="115"/>
                    <a:pt x="158" y="115"/>
                  </a:cubicBezTo>
                  <a:lnTo>
                    <a:pt x="157" y="116"/>
                  </a:lnTo>
                  <a:close/>
                  <a:moveTo>
                    <a:pt x="163" y="14"/>
                  </a:moveTo>
                  <a:cubicBezTo>
                    <a:pt x="163" y="14"/>
                    <a:pt x="163" y="15"/>
                    <a:pt x="163" y="15"/>
                  </a:cubicBezTo>
                  <a:cubicBezTo>
                    <a:pt x="163" y="108"/>
                    <a:pt x="163" y="108"/>
                    <a:pt x="163" y="108"/>
                  </a:cubicBezTo>
                  <a:cubicBezTo>
                    <a:pt x="163" y="108"/>
                    <a:pt x="163" y="109"/>
                    <a:pt x="163" y="109"/>
                  </a:cubicBezTo>
                  <a:cubicBezTo>
                    <a:pt x="162" y="110"/>
                    <a:pt x="162" y="110"/>
                    <a:pt x="162" y="110"/>
                  </a:cubicBezTo>
                  <a:cubicBezTo>
                    <a:pt x="114" y="62"/>
                    <a:pt x="114" y="62"/>
                    <a:pt x="114" y="62"/>
                  </a:cubicBezTo>
                  <a:cubicBezTo>
                    <a:pt x="162" y="13"/>
                    <a:pt x="162" y="13"/>
                    <a:pt x="162" y="13"/>
                  </a:cubicBezTo>
                  <a:lnTo>
                    <a:pt x="163" y="14"/>
                  </a:lnTo>
                  <a:close/>
                  <a:moveTo>
                    <a:pt x="13" y="7"/>
                  </a:moveTo>
                  <a:cubicBezTo>
                    <a:pt x="14" y="7"/>
                    <a:pt x="14" y="7"/>
                    <a:pt x="15" y="7"/>
                  </a:cubicBezTo>
                  <a:cubicBezTo>
                    <a:pt x="155" y="7"/>
                    <a:pt x="155" y="7"/>
                    <a:pt x="155" y="7"/>
                  </a:cubicBezTo>
                  <a:cubicBezTo>
                    <a:pt x="155" y="7"/>
                    <a:pt x="156" y="7"/>
                    <a:pt x="157" y="7"/>
                  </a:cubicBezTo>
                  <a:cubicBezTo>
                    <a:pt x="158" y="8"/>
                    <a:pt x="158" y="8"/>
                    <a:pt x="158" y="8"/>
                  </a:cubicBezTo>
                  <a:cubicBezTo>
                    <a:pt x="91" y="75"/>
                    <a:pt x="91" y="75"/>
                    <a:pt x="91" y="75"/>
                  </a:cubicBezTo>
                  <a:cubicBezTo>
                    <a:pt x="89" y="77"/>
                    <a:pt x="87" y="78"/>
                    <a:pt x="85" y="78"/>
                  </a:cubicBezTo>
                  <a:cubicBezTo>
                    <a:pt x="83" y="78"/>
                    <a:pt x="81" y="77"/>
                    <a:pt x="79" y="75"/>
                  </a:cubicBezTo>
                  <a:cubicBezTo>
                    <a:pt x="12" y="8"/>
                    <a:pt x="12" y="8"/>
                    <a:pt x="12" y="8"/>
                  </a:cubicBezTo>
                  <a:lnTo>
                    <a:pt x="13" y="7"/>
                  </a:lnTo>
                  <a:close/>
                  <a:moveTo>
                    <a:pt x="7" y="15"/>
                  </a:moveTo>
                  <a:cubicBezTo>
                    <a:pt x="7" y="15"/>
                    <a:pt x="7" y="14"/>
                    <a:pt x="7" y="14"/>
                  </a:cubicBezTo>
                  <a:cubicBezTo>
                    <a:pt x="7" y="13"/>
                    <a:pt x="7" y="13"/>
                    <a:pt x="7" y="13"/>
                  </a:cubicBezTo>
                  <a:cubicBezTo>
                    <a:pt x="56" y="62"/>
                    <a:pt x="56" y="62"/>
                    <a:pt x="56" y="62"/>
                  </a:cubicBezTo>
                  <a:cubicBezTo>
                    <a:pt x="7" y="110"/>
                    <a:pt x="7" y="110"/>
                    <a:pt x="7" y="110"/>
                  </a:cubicBezTo>
                  <a:cubicBezTo>
                    <a:pt x="7" y="109"/>
                    <a:pt x="7" y="109"/>
                    <a:pt x="7" y="109"/>
                  </a:cubicBezTo>
                  <a:cubicBezTo>
                    <a:pt x="7" y="109"/>
                    <a:pt x="7" y="108"/>
                    <a:pt x="7" y="108"/>
                  </a:cubicBezTo>
                  <a:lnTo>
                    <a:pt x="7" y="1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AU"/>
            </a:p>
          </p:txBody>
        </p:sp>
      </p:grpSp>
      <p:grpSp>
        <p:nvGrpSpPr>
          <p:cNvPr id="19" name="Group 18">
            <a:extLst>
              <a:ext uri="{FF2B5EF4-FFF2-40B4-BE49-F238E27FC236}">
                <a16:creationId xmlns:a16="http://schemas.microsoft.com/office/drawing/2014/main" id="{5A5C0685-A8CE-C046-0739-FD81DB607836}"/>
              </a:ext>
              <a:ext uri="{C183D7F6-B498-43B3-948B-1728B52AA6E4}">
                <adec:decorative xmlns:adec="http://schemas.microsoft.com/office/drawing/2017/decorative" val="1"/>
              </a:ext>
            </a:extLst>
          </p:cNvPr>
          <p:cNvGrpSpPr/>
          <p:nvPr/>
        </p:nvGrpSpPr>
        <p:grpSpPr>
          <a:xfrm>
            <a:off x="2535639" y="3748155"/>
            <a:ext cx="442209" cy="442209"/>
            <a:chOff x="4060698" y="4263084"/>
            <a:chExt cx="442209" cy="442209"/>
          </a:xfrm>
        </p:grpSpPr>
        <p:sp>
          <p:nvSpPr>
            <p:cNvPr id="8" name="Oval 7">
              <a:extLst>
                <a:ext uri="{FF2B5EF4-FFF2-40B4-BE49-F238E27FC236}">
                  <a16:creationId xmlns:a16="http://schemas.microsoft.com/office/drawing/2014/main" id="{869A188D-B323-B358-41E1-2F150A19323E}"/>
                </a:ext>
              </a:extLst>
            </p:cNvPr>
            <p:cNvSpPr/>
            <p:nvPr/>
          </p:nvSpPr>
          <p:spPr>
            <a:xfrm>
              <a:off x="4060698" y="4263084"/>
              <a:ext cx="442209" cy="442209"/>
            </a:xfrm>
            <a:prstGeom prst="ellipse">
              <a:avLst/>
            </a:prstGeom>
            <a:solidFill>
              <a:schemeClr val="accent6"/>
            </a:solidFill>
            <a:ln w="349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35" name="Group 34">
              <a:extLst>
                <a:ext uri="{FF2B5EF4-FFF2-40B4-BE49-F238E27FC236}">
                  <a16:creationId xmlns:a16="http://schemas.microsoft.com/office/drawing/2014/main" id="{B572E83B-A033-647C-5B37-6045DA48A8E8}"/>
                </a:ext>
              </a:extLst>
            </p:cNvPr>
            <p:cNvGrpSpPr>
              <a:grpSpLocks noChangeAspect="1"/>
            </p:cNvGrpSpPr>
            <p:nvPr/>
          </p:nvGrpSpPr>
          <p:grpSpPr>
            <a:xfrm>
              <a:off x="4191972" y="4391636"/>
              <a:ext cx="179661" cy="185105"/>
              <a:chOff x="3978276" y="3813175"/>
              <a:chExt cx="523875" cy="539750"/>
            </a:xfrm>
            <a:solidFill>
              <a:schemeClr val="bg1"/>
            </a:solidFill>
          </p:grpSpPr>
          <p:sp>
            <p:nvSpPr>
              <p:cNvPr id="36" name="Freeform 13">
                <a:extLst>
                  <a:ext uri="{FF2B5EF4-FFF2-40B4-BE49-F238E27FC236}">
                    <a16:creationId xmlns:a16="http://schemas.microsoft.com/office/drawing/2014/main" id="{EA245644-BC9D-F841-4AC1-09CE30D64D52}"/>
                  </a:ext>
                </a:extLst>
              </p:cNvPr>
              <p:cNvSpPr>
                <a:spLocks/>
              </p:cNvSpPr>
              <p:nvPr/>
            </p:nvSpPr>
            <p:spPr bwMode="auto">
              <a:xfrm>
                <a:off x="3978276" y="3929063"/>
                <a:ext cx="523875" cy="423862"/>
              </a:xfrm>
              <a:custGeom>
                <a:avLst/>
                <a:gdLst>
                  <a:gd name="T0" fmla="*/ 152 w 155"/>
                  <a:gd name="T1" fmla="*/ 120 h 125"/>
                  <a:gd name="T2" fmla="*/ 6 w 155"/>
                  <a:gd name="T3" fmla="*/ 120 h 125"/>
                  <a:gd name="T4" fmla="*/ 6 w 155"/>
                  <a:gd name="T5" fmla="*/ 3 h 125"/>
                  <a:gd name="T6" fmla="*/ 3 w 155"/>
                  <a:gd name="T7" fmla="*/ 0 h 125"/>
                  <a:gd name="T8" fmla="*/ 0 w 155"/>
                  <a:gd name="T9" fmla="*/ 3 h 125"/>
                  <a:gd name="T10" fmla="*/ 0 w 155"/>
                  <a:gd name="T11" fmla="*/ 122 h 125"/>
                  <a:gd name="T12" fmla="*/ 3 w 155"/>
                  <a:gd name="T13" fmla="*/ 125 h 125"/>
                  <a:gd name="T14" fmla="*/ 152 w 155"/>
                  <a:gd name="T15" fmla="*/ 125 h 125"/>
                  <a:gd name="T16" fmla="*/ 155 w 155"/>
                  <a:gd name="T17" fmla="*/ 122 h 125"/>
                  <a:gd name="T18" fmla="*/ 152 w 155"/>
                  <a:gd name="T19" fmla="*/ 12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5" h="125">
                    <a:moveTo>
                      <a:pt x="152" y="120"/>
                    </a:moveTo>
                    <a:cubicBezTo>
                      <a:pt x="6" y="120"/>
                      <a:pt x="6" y="120"/>
                      <a:pt x="6" y="120"/>
                    </a:cubicBezTo>
                    <a:cubicBezTo>
                      <a:pt x="6" y="3"/>
                      <a:pt x="6" y="3"/>
                      <a:pt x="6" y="3"/>
                    </a:cubicBezTo>
                    <a:cubicBezTo>
                      <a:pt x="6" y="1"/>
                      <a:pt x="5" y="0"/>
                      <a:pt x="3" y="0"/>
                    </a:cubicBezTo>
                    <a:cubicBezTo>
                      <a:pt x="1" y="0"/>
                      <a:pt x="0" y="1"/>
                      <a:pt x="0" y="3"/>
                    </a:cubicBezTo>
                    <a:cubicBezTo>
                      <a:pt x="0" y="122"/>
                      <a:pt x="0" y="122"/>
                      <a:pt x="0" y="122"/>
                    </a:cubicBezTo>
                    <a:cubicBezTo>
                      <a:pt x="0" y="124"/>
                      <a:pt x="1" y="125"/>
                      <a:pt x="3" y="125"/>
                    </a:cubicBezTo>
                    <a:cubicBezTo>
                      <a:pt x="152" y="125"/>
                      <a:pt x="152" y="125"/>
                      <a:pt x="152" y="125"/>
                    </a:cubicBezTo>
                    <a:cubicBezTo>
                      <a:pt x="154" y="125"/>
                      <a:pt x="155" y="124"/>
                      <a:pt x="155" y="122"/>
                    </a:cubicBezTo>
                    <a:cubicBezTo>
                      <a:pt x="155" y="121"/>
                      <a:pt x="154" y="120"/>
                      <a:pt x="152"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14">
                <a:extLst>
                  <a:ext uri="{FF2B5EF4-FFF2-40B4-BE49-F238E27FC236}">
                    <a16:creationId xmlns:a16="http://schemas.microsoft.com/office/drawing/2014/main" id="{C1F322B2-BD9C-BD72-E1F6-0787E5400D83}"/>
                  </a:ext>
                </a:extLst>
              </p:cNvPr>
              <p:cNvSpPr>
                <a:spLocks/>
              </p:cNvSpPr>
              <p:nvPr/>
            </p:nvSpPr>
            <p:spPr bwMode="auto">
              <a:xfrm>
                <a:off x="4070351" y="3813175"/>
                <a:ext cx="381000" cy="258762"/>
              </a:xfrm>
              <a:custGeom>
                <a:avLst/>
                <a:gdLst>
                  <a:gd name="T0" fmla="*/ 3 w 113"/>
                  <a:gd name="T1" fmla="*/ 76 h 76"/>
                  <a:gd name="T2" fmla="*/ 6 w 113"/>
                  <a:gd name="T3" fmla="*/ 74 h 76"/>
                  <a:gd name="T4" fmla="*/ 24 w 113"/>
                  <a:gd name="T5" fmla="*/ 20 h 76"/>
                  <a:gd name="T6" fmla="*/ 36 w 113"/>
                  <a:gd name="T7" fmla="*/ 59 h 76"/>
                  <a:gd name="T8" fmla="*/ 38 w 113"/>
                  <a:gd name="T9" fmla="*/ 60 h 76"/>
                  <a:gd name="T10" fmla="*/ 41 w 113"/>
                  <a:gd name="T11" fmla="*/ 60 h 76"/>
                  <a:gd name="T12" fmla="*/ 74 w 113"/>
                  <a:gd name="T13" fmla="*/ 22 h 76"/>
                  <a:gd name="T14" fmla="*/ 92 w 113"/>
                  <a:gd name="T15" fmla="*/ 47 h 76"/>
                  <a:gd name="T16" fmla="*/ 95 w 113"/>
                  <a:gd name="T17" fmla="*/ 48 h 76"/>
                  <a:gd name="T18" fmla="*/ 97 w 113"/>
                  <a:gd name="T19" fmla="*/ 46 h 76"/>
                  <a:gd name="T20" fmla="*/ 113 w 113"/>
                  <a:gd name="T21" fmla="*/ 5 h 76"/>
                  <a:gd name="T22" fmla="*/ 111 w 113"/>
                  <a:gd name="T23" fmla="*/ 1 h 76"/>
                  <a:gd name="T24" fmla="*/ 107 w 113"/>
                  <a:gd name="T25" fmla="*/ 2 h 76"/>
                  <a:gd name="T26" fmla="*/ 93 w 113"/>
                  <a:gd name="T27" fmla="*/ 40 h 76"/>
                  <a:gd name="T28" fmla="*/ 76 w 113"/>
                  <a:gd name="T29" fmla="*/ 16 h 76"/>
                  <a:gd name="T30" fmla="*/ 73 w 113"/>
                  <a:gd name="T31" fmla="*/ 16 h 76"/>
                  <a:gd name="T32" fmla="*/ 40 w 113"/>
                  <a:gd name="T33" fmla="*/ 53 h 76"/>
                  <a:gd name="T34" fmla="*/ 26 w 113"/>
                  <a:gd name="T35" fmla="*/ 12 h 76"/>
                  <a:gd name="T36" fmla="*/ 23 w 113"/>
                  <a:gd name="T37" fmla="*/ 10 h 76"/>
                  <a:gd name="T38" fmla="*/ 21 w 113"/>
                  <a:gd name="T39" fmla="*/ 12 h 76"/>
                  <a:gd name="T40" fmla="*/ 1 w 113"/>
                  <a:gd name="T41" fmla="*/ 72 h 76"/>
                  <a:gd name="T42" fmla="*/ 3 w 113"/>
                  <a:gd name="T4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3" h="76">
                    <a:moveTo>
                      <a:pt x="3" y="76"/>
                    </a:moveTo>
                    <a:cubicBezTo>
                      <a:pt x="4" y="76"/>
                      <a:pt x="6" y="75"/>
                      <a:pt x="6" y="74"/>
                    </a:cubicBezTo>
                    <a:cubicBezTo>
                      <a:pt x="24" y="20"/>
                      <a:pt x="24" y="20"/>
                      <a:pt x="24" y="20"/>
                    </a:cubicBezTo>
                    <a:cubicBezTo>
                      <a:pt x="36" y="59"/>
                      <a:pt x="36" y="59"/>
                      <a:pt x="36" y="59"/>
                    </a:cubicBezTo>
                    <a:cubicBezTo>
                      <a:pt x="37" y="59"/>
                      <a:pt x="38" y="60"/>
                      <a:pt x="38" y="60"/>
                    </a:cubicBezTo>
                    <a:cubicBezTo>
                      <a:pt x="39" y="60"/>
                      <a:pt x="40" y="60"/>
                      <a:pt x="41" y="60"/>
                    </a:cubicBezTo>
                    <a:cubicBezTo>
                      <a:pt x="74" y="22"/>
                      <a:pt x="74" y="22"/>
                      <a:pt x="74" y="22"/>
                    </a:cubicBezTo>
                    <a:cubicBezTo>
                      <a:pt x="92" y="47"/>
                      <a:pt x="92" y="47"/>
                      <a:pt x="92" y="47"/>
                    </a:cubicBezTo>
                    <a:cubicBezTo>
                      <a:pt x="93" y="47"/>
                      <a:pt x="94" y="48"/>
                      <a:pt x="95" y="48"/>
                    </a:cubicBezTo>
                    <a:cubicBezTo>
                      <a:pt x="96" y="47"/>
                      <a:pt x="96" y="47"/>
                      <a:pt x="97" y="46"/>
                    </a:cubicBezTo>
                    <a:cubicBezTo>
                      <a:pt x="113" y="5"/>
                      <a:pt x="113" y="5"/>
                      <a:pt x="113" y="5"/>
                    </a:cubicBezTo>
                    <a:cubicBezTo>
                      <a:pt x="113" y="3"/>
                      <a:pt x="113" y="2"/>
                      <a:pt x="111" y="1"/>
                    </a:cubicBezTo>
                    <a:cubicBezTo>
                      <a:pt x="110" y="0"/>
                      <a:pt x="108" y="1"/>
                      <a:pt x="107" y="2"/>
                    </a:cubicBezTo>
                    <a:cubicBezTo>
                      <a:pt x="93" y="40"/>
                      <a:pt x="93" y="40"/>
                      <a:pt x="93" y="40"/>
                    </a:cubicBezTo>
                    <a:cubicBezTo>
                      <a:pt x="76" y="16"/>
                      <a:pt x="76" y="16"/>
                      <a:pt x="76" y="16"/>
                    </a:cubicBezTo>
                    <a:cubicBezTo>
                      <a:pt x="75" y="15"/>
                      <a:pt x="74" y="15"/>
                      <a:pt x="73" y="16"/>
                    </a:cubicBezTo>
                    <a:cubicBezTo>
                      <a:pt x="40" y="53"/>
                      <a:pt x="40" y="53"/>
                      <a:pt x="40" y="53"/>
                    </a:cubicBezTo>
                    <a:cubicBezTo>
                      <a:pt x="26" y="12"/>
                      <a:pt x="26" y="12"/>
                      <a:pt x="26" y="12"/>
                    </a:cubicBezTo>
                    <a:cubicBezTo>
                      <a:pt x="26" y="11"/>
                      <a:pt x="24" y="10"/>
                      <a:pt x="23" y="10"/>
                    </a:cubicBezTo>
                    <a:cubicBezTo>
                      <a:pt x="22" y="10"/>
                      <a:pt x="21" y="11"/>
                      <a:pt x="21" y="12"/>
                    </a:cubicBezTo>
                    <a:cubicBezTo>
                      <a:pt x="1" y="72"/>
                      <a:pt x="1" y="72"/>
                      <a:pt x="1" y="72"/>
                    </a:cubicBezTo>
                    <a:cubicBezTo>
                      <a:pt x="0" y="74"/>
                      <a:pt x="1" y="75"/>
                      <a:pt x="3"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6" name="Freeform 15">
                <a:extLst>
                  <a:ext uri="{FF2B5EF4-FFF2-40B4-BE49-F238E27FC236}">
                    <a16:creationId xmlns:a16="http://schemas.microsoft.com/office/drawing/2014/main" id="{8BD18216-2A7A-B6D4-0706-3B2DC67A2405}"/>
                  </a:ext>
                </a:extLst>
              </p:cNvPr>
              <p:cNvSpPr>
                <a:spLocks noEditPoints="1"/>
              </p:cNvSpPr>
              <p:nvPr/>
            </p:nvSpPr>
            <p:spPr bwMode="auto">
              <a:xfrm>
                <a:off x="4035426" y="4108450"/>
                <a:ext cx="92075" cy="193675"/>
              </a:xfrm>
              <a:custGeom>
                <a:avLst/>
                <a:gdLst>
                  <a:gd name="T0" fmla="*/ 3 w 27"/>
                  <a:gd name="T1" fmla="*/ 57 h 57"/>
                  <a:gd name="T2" fmla="*/ 24 w 27"/>
                  <a:gd name="T3" fmla="*/ 57 h 57"/>
                  <a:gd name="T4" fmla="*/ 27 w 27"/>
                  <a:gd name="T5" fmla="*/ 55 h 57"/>
                  <a:gd name="T6" fmla="*/ 27 w 27"/>
                  <a:gd name="T7" fmla="*/ 3 h 57"/>
                  <a:gd name="T8" fmla="*/ 24 w 27"/>
                  <a:gd name="T9" fmla="*/ 0 h 57"/>
                  <a:gd name="T10" fmla="*/ 3 w 27"/>
                  <a:gd name="T11" fmla="*/ 0 h 57"/>
                  <a:gd name="T12" fmla="*/ 0 w 27"/>
                  <a:gd name="T13" fmla="*/ 3 h 57"/>
                  <a:gd name="T14" fmla="*/ 0 w 27"/>
                  <a:gd name="T15" fmla="*/ 55 h 57"/>
                  <a:gd name="T16" fmla="*/ 3 w 27"/>
                  <a:gd name="T17" fmla="*/ 57 h 57"/>
                  <a:gd name="T18" fmla="*/ 6 w 27"/>
                  <a:gd name="T19" fmla="*/ 6 h 57"/>
                  <a:gd name="T20" fmla="*/ 22 w 27"/>
                  <a:gd name="T21" fmla="*/ 6 h 57"/>
                  <a:gd name="T22" fmla="*/ 22 w 27"/>
                  <a:gd name="T23" fmla="*/ 52 h 57"/>
                  <a:gd name="T24" fmla="*/ 6 w 27"/>
                  <a:gd name="T25" fmla="*/ 52 h 57"/>
                  <a:gd name="T26" fmla="*/ 6 w 27"/>
                  <a:gd name="T27"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57">
                    <a:moveTo>
                      <a:pt x="3" y="57"/>
                    </a:moveTo>
                    <a:cubicBezTo>
                      <a:pt x="24" y="57"/>
                      <a:pt x="24" y="57"/>
                      <a:pt x="24" y="57"/>
                    </a:cubicBezTo>
                    <a:cubicBezTo>
                      <a:pt x="26" y="57"/>
                      <a:pt x="27" y="56"/>
                      <a:pt x="27" y="55"/>
                    </a:cubicBezTo>
                    <a:cubicBezTo>
                      <a:pt x="27" y="3"/>
                      <a:pt x="27" y="3"/>
                      <a:pt x="27" y="3"/>
                    </a:cubicBezTo>
                    <a:cubicBezTo>
                      <a:pt x="27" y="2"/>
                      <a:pt x="26" y="0"/>
                      <a:pt x="24" y="0"/>
                    </a:cubicBezTo>
                    <a:cubicBezTo>
                      <a:pt x="3" y="0"/>
                      <a:pt x="3" y="0"/>
                      <a:pt x="3" y="0"/>
                    </a:cubicBezTo>
                    <a:cubicBezTo>
                      <a:pt x="1" y="0"/>
                      <a:pt x="0" y="2"/>
                      <a:pt x="0" y="3"/>
                    </a:cubicBezTo>
                    <a:cubicBezTo>
                      <a:pt x="0" y="55"/>
                      <a:pt x="0" y="55"/>
                      <a:pt x="0" y="55"/>
                    </a:cubicBezTo>
                    <a:cubicBezTo>
                      <a:pt x="0" y="56"/>
                      <a:pt x="1" y="57"/>
                      <a:pt x="3" y="57"/>
                    </a:cubicBezTo>
                    <a:close/>
                    <a:moveTo>
                      <a:pt x="6" y="6"/>
                    </a:moveTo>
                    <a:cubicBezTo>
                      <a:pt x="22" y="6"/>
                      <a:pt x="22" y="6"/>
                      <a:pt x="22" y="6"/>
                    </a:cubicBezTo>
                    <a:cubicBezTo>
                      <a:pt x="22" y="52"/>
                      <a:pt x="22" y="52"/>
                      <a:pt x="22" y="52"/>
                    </a:cubicBezTo>
                    <a:cubicBezTo>
                      <a:pt x="6" y="52"/>
                      <a:pt x="6" y="52"/>
                      <a:pt x="6" y="52"/>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7" name="Freeform 16">
                <a:extLst>
                  <a:ext uri="{FF2B5EF4-FFF2-40B4-BE49-F238E27FC236}">
                    <a16:creationId xmlns:a16="http://schemas.microsoft.com/office/drawing/2014/main" id="{DA173517-0B10-0A8B-1FA9-A8A5454172B4}"/>
                  </a:ext>
                </a:extLst>
              </p:cNvPr>
              <p:cNvSpPr>
                <a:spLocks noEditPoints="1"/>
              </p:cNvSpPr>
              <p:nvPr/>
            </p:nvSpPr>
            <p:spPr bwMode="auto">
              <a:xfrm>
                <a:off x="4154488" y="4057650"/>
                <a:ext cx="95250" cy="244475"/>
              </a:xfrm>
              <a:custGeom>
                <a:avLst/>
                <a:gdLst>
                  <a:gd name="T0" fmla="*/ 3 w 28"/>
                  <a:gd name="T1" fmla="*/ 0 h 72"/>
                  <a:gd name="T2" fmla="*/ 0 w 28"/>
                  <a:gd name="T3" fmla="*/ 3 h 72"/>
                  <a:gd name="T4" fmla="*/ 0 w 28"/>
                  <a:gd name="T5" fmla="*/ 70 h 72"/>
                  <a:gd name="T6" fmla="*/ 3 w 28"/>
                  <a:gd name="T7" fmla="*/ 72 h 72"/>
                  <a:gd name="T8" fmla="*/ 25 w 28"/>
                  <a:gd name="T9" fmla="*/ 72 h 72"/>
                  <a:gd name="T10" fmla="*/ 28 w 28"/>
                  <a:gd name="T11" fmla="*/ 70 h 72"/>
                  <a:gd name="T12" fmla="*/ 28 w 28"/>
                  <a:gd name="T13" fmla="*/ 3 h 72"/>
                  <a:gd name="T14" fmla="*/ 25 w 28"/>
                  <a:gd name="T15" fmla="*/ 0 h 72"/>
                  <a:gd name="T16" fmla="*/ 3 w 28"/>
                  <a:gd name="T17" fmla="*/ 0 h 72"/>
                  <a:gd name="T18" fmla="*/ 22 w 28"/>
                  <a:gd name="T19" fmla="*/ 67 h 72"/>
                  <a:gd name="T20" fmla="*/ 6 w 28"/>
                  <a:gd name="T21" fmla="*/ 67 h 72"/>
                  <a:gd name="T22" fmla="*/ 6 w 28"/>
                  <a:gd name="T23" fmla="*/ 6 h 72"/>
                  <a:gd name="T24" fmla="*/ 22 w 28"/>
                  <a:gd name="T25" fmla="*/ 6 h 72"/>
                  <a:gd name="T26" fmla="*/ 22 w 28"/>
                  <a:gd name="T27" fmla="*/ 6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72">
                    <a:moveTo>
                      <a:pt x="3" y="0"/>
                    </a:moveTo>
                    <a:cubicBezTo>
                      <a:pt x="2" y="0"/>
                      <a:pt x="0" y="1"/>
                      <a:pt x="0" y="3"/>
                    </a:cubicBezTo>
                    <a:cubicBezTo>
                      <a:pt x="0" y="70"/>
                      <a:pt x="0" y="70"/>
                      <a:pt x="0" y="70"/>
                    </a:cubicBezTo>
                    <a:cubicBezTo>
                      <a:pt x="0" y="71"/>
                      <a:pt x="2" y="72"/>
                      <a:pt x="3" y="72"/>
                    </a:cubicBezTo>
                    <a:cubicBezTo>
                      <a:pt x="25" y="72"/>
                      <a:pt x="25" y="72"/>
                      <a:pt x="25" y="72"/>
                    </a:cubicBezTo>
                    <a:cubicBezTo>
                      <a:pt x="27" y="72"/>
                      <a:pt x="28" y="71"/>
                      <a:pt x="28" y="70"/>
                    </a:cubicBezTo>
                    <a:cubicBezTo>
                      <a:pt x="28" y="3"/>
                      <a:pt x="28" y="3"/>
                      <a:pt x="28" y="3"/>
                    </a:cubicBezTo>
                    <a:cubicBezTo>
                      <a:pt x="28" y="1"/>
                      <a:pt x="27" y="0"/>
                      <a:pt x="25" y="0"/>
                    </a:cubicBezTo>
                    <a:lnTo>
                      <a:pt x="3" y="0"/>
                    </a:lnTo>
                    <a:close/>
                    <a:moveTo>
                      <a:pt x="22" y="67"/>
                    </a:moveTo>
                    <a:cubicBezTo>
                      <a:pt x="6" y="67"/>
                      <a:pt x="6" y="67"/>
                      <a:pt x="6" y="67"/>
                    </a:cubicBezTo>
                    <a:cubicBezTo>
                      <a:pt x="6" y="6"/>
                      <a:pt x="6" y="6"/>
                      <a:pt x="6" y="6"/>
                    </a:cubicBezTo>
                    <a:cubicBezTo>
                      <a:pt x="22" y="6"/>
                      <a:pt x="22" y="6"/>
                      <a:pt x="22" y="6"/>
                    </a:cubicBezTo>
                    <a:lnTo>
                      <a:pt x="22"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8" name="Freeform 17">
                <a:extLst>
                  <a:ext uri="{FF2B5EF4-FFF2-40B4-BE49-F238E27FC236}">
                    <a16:creationId xmlns:a16="http://schemas.microsoft.com/office/drawing/2014/main" id="{9114B045-E261-824E-2462-21EF60EEC3CB}"/>
                  </a:ext>
                </a:extLst>
              </p:cNvPr>
              <p:cNvSpPr>
                <a:spLocks noEditPoints="1"/>
              </p:cNvSpPr>
              <p:nvPr/>
            </p:nvSpPr>
            <p:spPr bwMode="auto">
              <a:xfrm>
                <a:off x="4276726" y="4000500"/>
                <a:ext cx="90488" cy="301625"/>
              </a:xfrm>
              <a:custGeom>
                <a:avLst/>
                <a:gdLst>
                  <a:gd name="T0" fmla="*/ 3 w 27"/>
                  <a:gd name="T1" fmla="*/ 0 h 89"/>
                  <a:gd name="T2" fmla="*/ 0 w 27"/>
                  <a:gd name="T3" fmla="*/ 2 h 89"/>
                  <a:gd name="T4" fmla="*/ 0 w 27"/>
                  <a:gd name="T5" fmla="*/ 87 h 89"/>
                  <a:gd name="T6" fmla="*/ 3 w 27"/>
                  <a:gd name="T7" fmla="*/ 89 h 89"/>
                  <a:gd name="T8" fmla="*/ 24 w 27"/>
                  <a:gd name="T9" fmla="*/ 89 h 89"/>
                  <a:gd name="T10" fmla="*/ 27 w 27"/>
                  <a:gd name="T11" fmla="*/ 87 h 89"/>
                  <a:gd name="T12" fmla="*/ 27 w 27"/>
                  <a:gd name="T13" fmla="*/ 2 h 89"/>
                  <a:gd name="T14" fmla="*/ 24 w 27"/>
                  <a:gd name="T15" fmla="*/ 0 h 89"/>
                  <a:gd name="T16" fmla="*/ 3 w 27"/>
                  <a:gd name="T17" fmla="*/ 0 h 89"/>
                  <a:gd name="T18" fmla="*/ 21 w 27"/>
                  <a:gd name="T19" fmla="*/ 84 h 89"/>
                  <a:gd name="T20" fmla="*/ 6 w 27"/>
                  <a:gd name="T21" fmla="*/ 84 h 89"/>
                  <a:gd name="T22" fmla="*/ 6 w 27"/>
                  <a:gd name="T23" fmla="*/ 5 h 89"/>
                  <a:gd name="T24" fmla="*/ 21 w 27"/>
                  <a:gd name="T25" fmla="*/ 5 h 89"/>
                  <a:gd name="T26" fmla="*/ 21 w 27"/>
                  <a:gd name="T27"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89">
                    <a:moveTo>
                      <a:pt x="3" y="0"/>
                    </a:moveTo>
                    <a:cubicBezTo>
                      <a:pt x="1" y="0"/>
                      <a:pt x="0" y="1"/>
                      <a:pt x="0" y="2"/>
                    </a:cubicBezTo>
                    <a:cubicBezTo>
                      <a:pt x="0" y="87"/>
                      <a:pt x="0" y="87"/>
                      <a:pt x="0" y="87"/>
                    </a:cubicBezTo>
                    <a:cubicBezTo>
                      <a:pt x="0" y="88"/>
                      <a:pt x="1" y="89"/>
                      <a:pt x="3" y="89"/>
                    </a:cubicBezTo>
                    <a:cubicBezTo>
                      <a:pt x="24" y="89"/>
                      <a:pt x="24" y="89"/>
                      <a:pt x="24" y="89"/>
                    </a:cubicBezTo>
                    <a:cubicBezTo>
                      <a:pt x="26" y="89"/>
                      <a:pt x="27" y="88"/>
                      <a:pt x="27" y="87"/>
                    </a:cubicBezTo>
                    <a:cubicBezTo>
                      <a:pt x="27" y="2"/>
                      <a:pt x="27" y="2"/>
                      <a:pt x="27" y="2"/>
                    </a:cubicBezTo>
                    <a:cubicBezTo>
                      <a:pt x="27" y="1"/>
                      <a:pt x="26" y="0"/>
                      <a:pt x="24" y="0"/>
                    </a:cubicBezTo>
                    <a:lnTo>
                      <a:pt x="3" y="0"/>
                    </a:lnTo>
                    <a:close/>
                    <a:moveTo>
                      <a:pt x="21" y="84"/>
                    </a:moveTo>
                    <a:cubicBezTo>
                      <a:pt x="6" y="84"/>
                      <a:pt x="6" y="84"/>
                      <a:pt x="6" y="84"/>
                    </a:cubicBezTo>
                    <a:cubicBezTo>
                      <a:pt x="6" y="5"/>
                      <a:pt x="6" y="5"/>
                      <a:pt x="6" y="5"/>
                    </a:cubicBezTo>
                    <a:cubicBezTo>
                      <a:pt x="21" y="5"/>
                      <a:pt x="21" y="5"/>
                      <a:pt x="21" y="5"/>
                    </a:cubicBezTo>
                    <a:lnTo>
                      <a:pt x="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9" name="Freeform 18">
                <a:extLst>
                  <a:ext uri="{FF2B5EF4-FFF2-40B4-BE49-F238E27FC236}">
                    <a16:creationId xmlns:a16="http://schemas.microsoft.com/office/drawing/2014/main" id="{2940A942-84A1-CD29-8D24-50A60EE0C002}"/>
                  </a:ext>
                </a:extLst>
              </p:cNvPr>
              <p:cNvSpPr>
                <a:spLocks noEditPoints="1"/>
              </p:cNvSpPr>
              <p:nvPr/>
            </p:nvSpPr>
            <p:spPr bwMode="auto">
              <a:xfrm>
                <a:off x="4394201" y="4051300"/>
                <a:ext cx="95250" cy="250825"/>
              </a:xfrm>
              <a:custGeom>
                <a:avLst/>
                <a:gdLst>
                  <a:gd name="T0" fmla="*/ 0 w 28"/>
                  <a:gd name="T1" fmla="*/ 3 h 74"/>
                  <a:gd name="T2" fmla="*/ 0 w 28"/>
                  <a:gd name="T3" fmla="*/ 72 h 74"/>
                  <a:gd name="T4" fmla="*/ 3 w 28"/>
                  <a:gd name="T5" fmla="*/ 74 h 74"/>
                  <a:gd name="T6" fmla="*/ 25 w 28"/>
                  <a:gd name="T7" fmla="*/ 74 h 74"/>
                  <a:gd name="T8" fmla="*/ 28 w 28"/>
                  <a:gd name="T9" fmla="*/ 72 h 74"/>
                  <a:gd name="T10" fmla="*/ 28 w 28"/>
                  <a:gd name="T11" fmla="*/ 3 h 74"/>
                  <a:gd name="T12" fmla="*/ 25 w 28"/>
                  <a:gd name="T13" fmla="*/ 0 h 74"/>
                  <a:gd name="T14" fmla="*/ 3 w 28"/>
                  <a:gd name="T15" fmla="*/ 0 h 74"/>
                  <a:gd name="T16" fmla="*/ 0 w 28"/>
                  <a:gd name="T17" fmla="*/ 3 h 74"/>
                  <a:gd name="T18" fmla="*/ 6 w 28"/>
                  <a:gd name="T19" fmla="*/ 6 h 74"/>
                  <a:gd name="T20" fmla="*/ 22 w 28"/>
                  <a:gd name="T21" fmla="*/ 6 h 74"/>
                  <a:gd name="T22" fmla="*/ 22 w 28"/>
                  <a:gd name="T23" fmla="*/ 69 h 74"/>
                  <a:gd name="T24" fmla="*/ 6 w 28"/>
                  <a:gd name="T25" fmla="*/ 69 h 74"/>
                  <a:gd name="T26" fmla="*/ 6 w 28"/>
                  <a:gd name="T27" fmla="*/ 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74">
                    <a:moveTo>
                      <a:pt x="0" y="3"/>
                    </a:moveTo>
                    <a:cubicBezTo>
                      <a:pt x="0" y="72"/>
                      <a:pt x="0" y="72"/>
                      <a:pt x="0" y="72"/>
                    </a:cubicBezTo>
                    <a:cubicBezTo>
                      <a:pt x="0" y="73"/>
                      <a:pt x="2" y="74"/>
                      <a:pt x="3" y="74"/>
                    </a:cubicBezTo>
                    <a:cubicBezTo>
                      <a:pt x="25" y="74"/>
                      <a:pt x="25" y="74"/>
                      <a:pt x="25" y="74"/>
                    </a:cubicBezTo>
                    <a:cubicBezTo>
                      <a:pt x="26" y="74"/>
                      <a:pt x="28" y="73"/>
                      <a:pt x="28" y="72"/>
                    </a:cubicBezTo>
                    <a:cubicBezTo>
                      <a:pt x="28" y="3"/>
                      <a:pt x="28" y="3"/>
                      <a:pt x="28" y="3"/>
                    </a:cubicBezTo>
                    <a:cubicBezTo>
                      <a:pt x="28" y="1"/>
                      <a:pt x="26" y="0"/>
                      <a:pt x="25" y="0"/>
                    </a:cubicBezTo>
                    <a:cubicBezTo>
                      <a:pt x="3" y="0"/>
                      <a:pt x="3" y="0"/>
                      <a:pt x="3" y="0"/>
                    </a:cubicBezTo>
                    <a:cubicBezTo>
                      <a:pt x="2" y="0"/>
                      <a:pt x="0" y="1"/>
                      <a:pt x="0" y="3"/>
                    </a:cubicBezTo>
                    <a:close/>
                    <a:moveTo>
                      <a:pt x="6" y="6"/>
                    </a:moveTo>
                    <a:cubicBezTo>
                      <a:pt x="22" y="6"/>
                      <a:pt x="22" y="6"/>
                      <a:pt x="22" y="6"/>
                    </a:cubicBezTo>
                    <a:cubicBezTo>
                      <a:pt x="22" y="69"/>
                      <a:pt x="22" y="69"/>
                      <a:pt x="22" y="69"/>
                    </a:cubicBezTo>
                    <a:cubicBezTo>
                      <a:pt x="6" y="69"/>
                      <a:pt x="6" y="69"/>
                      <a:pt x="6" y="69"/>
                    </a:cubicBezTo>
                    <a:lnTo>
                      <a:pt x="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23" name="Group 22">
            <a:extLst>
              <a:ext uri="{FF2B5EF4-FFF2-40B4-BE49-F238E27FC236}">
                <a16:creationId xmlns:a16="http://schemas.microsoft.com/office/drawing/2014/main" id="{27AA2B41-E660-3587-6364-FE1D72350412}"/>
              </a:ext>
              <a:ext uri="{C183D7F6-B498-43B3-948B-1728B52AA6E4}">
                <adec:decorative xmlns:adec="http://schemas.microsoft.com/office/drawing/2017/decorative" val="1"/>
              </a:ext>
            </a:extLst>
          </p:cNvPr>
          <p:cNvGrpSpPr/>
          <p:nvPr/>
        </p:nvGrpSpPr>
        <p:grpSpPr>
          <a:xfrm>
            <a:off x="3489534" y="3748155"/>
            <a:ext cx="442209" cy="442209"/>
            <a:chOff x="5705392" y="4263084"/>
            <a:chExt cx="442209" cy="442209"/>
          </a:xfrm>
        </p:grpSpPr>
        <p:sp>
          <p:nvSpPr>
            <p:cNvPr id="9" name="Oval 8">
              <a:extLst>
                <a:ext uri="{FF2B5EF4-FFF2-40B4-BE49-F238E27FC236}">
                  <a16:creationId xmlns:a16="http://schemas.microsoft.com/office/drawing/2014/main" id="{868608D3-CAD7-6029-E6AE-4CFFED70C718}"/>
                </a:ext>
              </a:extLst>
            </p:cNvPr>
            <p:cNvSpPr/>
            <p:nvPr/>
          </p:nvSpPr>
          <p:spPr>
            <a:xfrm>
              <a:off x="5705392" y="4263084"/>
              <a:ext cx="442209" cy="442209"/>
            </a:xfrm>
            <a:prstGeom prst="ellipse">
              <a:avLst/>
            </a:prstGeom>
            <a:solidFill>
              <a:schemeClr val="accent6"/>
            </a:solidFill>
            <a:ln w="349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57" name="Group 56">
              <a:extLst>
                <a:ext uri="{FF2B5EF4-FFF2-40B4-BE49-F238E27FC236}">
                  <a16:creationId xmlns:a16="http://schemas.microsoft.com/office/drawing/2014/main" id="{7C8DD224-15DD-013D-5328-42C2081F2FA3}"/>
                </a:ext>
              </a:extLst>
            </p:cNvPr>
            <p:cNvGrpSpPr>
              <a:grpSpLocks noChangeAspect="1"/>
            </p:cNvGrpSpPr>
            <p:nvPr/>
          </p:nvGrpSpPr>
          <p:grpSpPr>
            <a:xfrm>
              <a:off x="5830235" y="4373576"/>
              <a:ext cx="217367" cy="221225"/>
              <a:chOff x="5160168" y="3217615"/>
              <a:chExt cx="536576" cy="546100"/>
            </a:xfrm>
            <a:solidFill>
              <a:schemeClr val="bg1"/>
            </a:solidFill>
          </p:grpSpPr>
          <p:sp>
            <p:nvSpPr>
              <p:cNvPr id="59" name="Freeform 131">
                <a:extLst>
                  <a:ext uri="{FF2B5EF4-FFF2-40B4-BE49-F238E27FC236}">
                    <a16:creationId xmlns:a16="http://schemas.microsoft.com/office/drawing/2014/main" id="{5B82823B-188E-302F-01F2-7ED5BE125EAD}"/>
                  </a:ext>
                </a:extLst>
              </p:cNvPr>
              <p:cNvSpPr>
                <a:spLocks/>
              </p:cNvSpPr>
              <p:nvPr/>
            </p:nvSpPr>
            <p:spPr bwMode="auto">
              <a:xfrm>
                <a:off x="5160168" y="3217615"/>
                <a:ext cx="334963" cy="465138"/>
              </a:xfrm>
              <a:custGeom>
                <a:avLst/>
                <a:gdLst>
                  <a:gd name="T0" fmla="*/ 92 w 105"/>
                  <a:gd name="T1" fmla="*/ 140 h 146"/>
                  <a:gd name="T2" fmla="*/ 7 w 105"/>
                  <a:gd name="T3" fmla="*/ 140 h 146"/>
                  <a:gd name="T4" fmla="*/ 7 w 105"/>
                  <a:gd name="T5" fmla="*/ 140 h 146"/>
                  <a:gd name="T6" fmla="*/ 31 w 105"/>
                  <a:gd name="T7" fmla="*/ 118 h 146"/>
                  <a:gd name="T8" fmla="*/ 31 w 105"/>
                  <a:gd name="T9" fmla="*/ 118 h 146"/>
                  <a:gd name="T10" fmla="*/ 42 w 105"/>
                  <a:gd name="T11" fmla="*/ 110 h 146"/>
                  <a:gd name="T12" fmla="*/ 42 w 105"/>
                  <a:gd name="T13" fmla="*/ 89 h 146"/>
                  <a:gd name="T14" fmla="*/ 42 w 105"/>
                  <a:gd name="T15" fmla="*/ 88 h 146"/>
                  <a:gd name="T16" fmla="*/ 35 w 105"/>
                  <a:gd name="T17" fmla="*/ 72 h 146"/>
                  <a:gd name="T18" fmla="*/ 32 w 105"/>
                  <a:gd name="T19" fmla="*/ 70 h 146"/>
                  <a:gd name="T20" fmla="*/ 26 w 105"/>
                  <a:gd name="T21" fmla="*/ 60 h 146"/>
                  <a:gd name="T22" fmla="*/ 26 w 105"/>
                  <a:gd name="T23" fmla="*/ 51 h 146"/>
                  <a:gd name="T24" fmla="*/ 26 w 105"/>
                  <a:gd name="T25" fmla="*/ 51 h 146"/>
                  <a:gd name="T26" fmla="*/ 29 w 105"/>
                  <a:gd name="T27" fmla="*/ 49 h 146"/>
                  <a:gd name="T28" fmla="*/ 30 w 105"/>
                  <a:gd name="T29" fmla="*/ 47 h 146"/>
                  <a:gd name="T30" fmla="*/ 33 w 105"/>
                  <a:gd name="T31" fmla="*/ 20 h 146"/>
                  <a:gd name="T32" fmla="*/ 61 w 105"/>
                  <a:gd name="T33" fmla="*/ 7 h 146"/>
                  <a:gd name="T34" fmla="*/ 90 w 105"/>
                  <a:gd name="T35" fmla="*/ 20 h 146"/>
                  <a:gd name="T36" fmla="*/ 93 w 105"/>
                  <a:gd name="T37" fmla="*/ 47 h 146"/>
                  <a:gd name="T38" fmla="*/ 94 w 105"/>
                  <a:gd name="T39" fmla="*/ 49 h 146"/>
                  <a:gd name="T40" fmla="*/ 96 w 105"/>
                  <a:gd name="T41" fmla="*/ 51 h 146"/>
                  <a:gd name="T42" fmla="*/ 97 w 105"/>
                  <a:gd name="T43" fmla="*/ 51 h 146"/>
                  <a:gd name="T44" fmla="*/ 97 w 105"/>
                  <a:gd name="T45" fmla="*/ 59 h 146"/>
                  <a:gd name="T46" fmla="*/ 91 w 105"/>
                  <a:gd name="T47" fmla="*/ 70 h 146"/>
                  <a:gd name="T48" fmla="*/ 88 w 105"/>
                  <a:gd name="T49" fmla="*/ 72 h 146"/>
                  <a:gd name="T50" fmla="*/ 81 w 105"/>
                  <a:gd name="T51" fmla="*/ 88 h 146"/>
                  <a:gd name="T52" fmla="*/ 81 w 105"/>
                  <a:gd name="T53" fmla="*/ 89 h 146"/>
                  <a:gd name="T54" fmla="*/ 81 w 105"/>
                  <a:gd name="T55" fmla="*/ 110 h 146"/>
                  <a:gd name="T56" fmla="*/ 89 w 105"/>
                  <a:gd name="T57" fmla="*/ 117 h 146"/>
                  <a:gd name="T58" fmla="*/ 90 w 105"/>
                  <a:gd name="T59" fmla="*/ 110 h 146"/>
                  <a:gd name="T60" fmla="*/ 87 w 105"/>
                  <a:gd name="T61" fmla="*/ 107 h 146"/>
                  <a:gd name="T62" fmla="*/ 87 w 105"/>
                  <a:gd name="T63" fmla="*/ 90 h 146"/>
                  <a:gd name="T64" fmla="*/ 87 w 105"/>
                  <a:gd name="T65" fmla="*/ 90 h 146"/>
                  <a:gd name="T66" fmla="*/ 93 w 105"/>
                  <a:gd name="T67" fmla="*/ 76 h 146"/>
                  <a:gd name="T68" fmla="*/ 93 w 105"/>
                  <a:gd name="T69" fmla="*/ 76 h 146"/>
                  <a:gd name="T70" fmla="*/ 104 w 105"/>
                  <a:gd name="T71" fmla="*/ 61 h 146"/>
                  <a:gd name="T72" fmla="*/ 102 w 105"/>
                  <a:gd name="T73" fmla="*/ 47 h 146"/>
                  <a:gd name="T74" fmla="*/ 100 w 105"/>
                  <a:gd name="T75" fmla="*/ 45 h 146"/>
                  <a:gd name="T76" fmla="*/ 100 w 105"/>
                  <a:gd name="T77" fmla="*/ 45 h 146"/>
                  <a:gd name="T78" fmla="*/ 100 w 105"/>
                  <a:gd name="T79" fmla="*/ 45 h 146"/>
                  <a:gd name="T80" fmla="*/ 95 w 105"/>
                  <a:gd name="T81" fmla="*/ 16 h 146"/>
                  <a:gd name="T82" fmla="*/ 61 w 105"/>
                  <a:gd name="T83" fmla="*/ 0 h 146"/>
                  <a:gd name="T84" fmla="*/ 28 w 105"/>
                  <a:gd name="T85" fmla="*/ 16 h 146"/>
                  <a:gd name="T86" fmla="*/ 22 w 105"/>
                  <a:gd name="T87" fmla="*/ 45 h 146"/>
                  <a:gd name="T88" fmla="*/ 22 w 105"/>
                  <a:gd name="T89" fmla="*/ 45 h 146"/>
                  <a:gd name="T90" fmla="*/ 22 w 105"/>
                  <a:gd name="T91" fmla="*/ 45 h 146"/>
                  <a:gd name="T92" fmla="*/ 21 w 105"/>
                  <a:gd name="T93" fmla="*/ 47 h 146"/>
                  <a:gd name="T94" fmla="*/ 19 w 105"/>
                  <a:gd name="T95" fmla="*/ 61 h 146"/>
                  <a:gd name="T96" fmla="*/ 29 w 105"/>
                  <a:gd name="T97" fmla="*/ 76 h 146"/>
                  <a:gd name="T98" fmla="*/ 29 w 105"/>
                  <a:gd name="T99" fmla="*/ 76 h 146"/>
                  <a:gd name="T100" fmla="*/ 36 w 105"/>
                  <a:gd name="T101" fmla="*/ 90 h 146"/>
                  <a:gd name="T102" fmla="*/ 36 w 105"/>
                  <a:gd name="T103" fmla="*/ 90 h 146"/>
                  <a:gd name="T104" fmla="*/ 36 w 105"/>
                  <a:gd name="T105" fmla="*/ 107 h 146"/>
                  <a:gd name="T106" fmla="*/ 28 w 105"/>
                  <a:gd name="T107" fmla="*/ 112 h 146"/>
                  <a:gd name="T108" fmla="*/ 28 w 105"/>
                  <a:gd name="T109" fmla="*/ 112 h 146"/>
                  <a:gd name="T110" fmla="*/ 0 w 105"/>
                  <a:gd name="T111" fmla="*/ 142 h 146"/>
                  <a:gd name="T112" fmla="*/ 4 w 105"/>
                  <a:gd name="T113" fmla="*/ 146 h 146"/>
                  <a:gd name="T114" fmla="*/ 95 w 105"/>
                  <a:gd name="T115" fmla="*/ 146 h 146"/>
                  <a:gd name="T116" fmla="*/ 92 w 105"/>
                  <a:gd name="T117" fmla="*/ 14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5" h="146">
                    <a:moveTo>
                      <a:pt x="92" y="140"/>
                    </a:moveTo>
                    <a:cubicBezTo>
                      <a:pt x="7" y="140"/>
                      <a:pt x="7" y="140"/>
                      <a:pt x="7" y="140"/>
                    </a:cubicBezTo>
                    <a:cubicBezTo>
                      <a:pt x="7" y="140"/>
                      <a:pt x="7" y="140"/>
                      <a:pt x="7" y="140"/>
                    </a:cubicBezTo>
                    <a:cubicBezTo>
                      <a:pt x="9" y="129"/>
                      <a:pt x="17" y="122"/>
                      <a:pt x="31" y="118"/>
                    </a:cubicBezTo>
                    <a:cubicBezTo>
                      <a:pt x="31" y="118"/>
                      <a:pt x="31" y="118"/>
                      <a:pt x="31" y="118"/>
                    </a:cubicBezTo>
                    <a:cubicBezTo>
                      <a:pt x="36" y="116"/>
                      <a:pt x="41" y="114"/>
                      <a:pt x="42" y="110"/>
                    </a:cubicBezTo>
                    <a:cubicBezTo>
                      <a:pt x="45" y="103"/>
                      <a:pt x="43" y="91"/>
                      <a:pt x="42" y="89"/>
                    </a:cubicBezTo>
                    <a:cubicBezTo>
                      <a:pt x="42" y="88"/>
                      <a:pt x="42" y="88"/>
                      <a:pt x="42" y="88"/>
                    </a:cubicBezTo>
                    <a:cubicBezTo>
                      <a:pt x="39" y="83"/>
                      <a:pt x="37" y="78"/>
                      <a:pt x="35" y="72"/>
                    </a:cubicBezTo>
                    <a:cubicBezTo>
                      <a:pt x="35" y="71"/>
                      <a:pt x="33" y="70"/>
                      <a:pt x="32" y="70"/>
                    </a:cubicBezTo>
                    <a:cubicBezTo>
                      <a:pt x="30" y="70"/>
                      <a:pt x="26" y="65"/>
                      <a:pt x="26" y="60"/>
                    </a:cubicBezTo>
                    <a:cubicBezTo>
                      <a:pt x="24" y="53"/>
                      <a:pt x="26" y="51"/>
                      <a:pt x="26" y="51"/>
                    </a:cubicBezTo>
                    <a:cubicBezTo>
                      <a:pt x="26" y="51"/>
                      <a:pt x="26" y="51"/>
                      <a:pt x="26" y="51"/>
                    </a:cubicBezTo>
                    <a:cubicBezTo>
                      <a:pt x="27" y="51"/>
                      <a:pt x="28" y="50"/>
                      <a:pt x="29" y="49"/>
                    </a:cubicBezTo>
                    <a:cubicBezTo>
                      <a:pt x="30" y="49"/>
                      <a:pt x="30" y="48"/>
                      <a:pt x="30" y="47"/>
                    </a:cubicBezTo>
                    <a:cubicBezTo>
                      <a:pt x="27" y="37"/>
                      <a:pt x="28" y="27"/>
                      <a:pt x="33" y="20"/>
                    </a:cubicBezTo>
                    <a:cubicBezTo>
                      <a:pt x="39" y="11"/>
                      <a:pt x="49" y="7"/>
                      <a:pt x="61" y="7"/>
                    </a:cubicBezTo>
                    <a:cubicBezTo>
                      <a:pt x="74" y="7"/>
                      <a:pt x="84" y="11"/>
                      <a:pt x="90" y="20"/>
                    </a:cubicBezTo>
                    <a:cubicBezTo>
                      <a:pt x="95" y="27"/>
                      <a:pt x="96" y="37"/>
                      <a:pt x="93" y="47"/>
                    </a:cubicBezTo>
                    <a:cubicBezTo>
                      <a:pt x="93" y="48"/>
                      <a:pt x="93" y="49"/>
                      <a:pt x="94" y="49"/>
                    </a:cubicBezTo>
                    <a:cubicBezTo>
                      <a:pt x="94" y="50"/>
                      <a:pt x="95" y="51"/>
                      <a:pt x="96" y="51"/>
                    </a:cubicBezTo>
                    <a:cubicBezTo>
                      <a:pt x="97" y="51"/>
                      <a:pt x="97" y="51"/>
                      <a:pt x="97" y="51"/>
                    </a:cubicBezTo>
                    <a:cubicBezTo>
                      <a:pt x="97" y="51"/>
                      <a:pt x="98" y="53"/>
                      <a:pt x="97" y="59"/>
                    </a:cubicBezTo>
                    <a:cubicBezTo>
                      <a:pt x="96" y="65"/>
                      <a:pt x="93" y="70"/>
                      <a:pt x="91" y="70"/>
                    </a:cubicBezTo>
                    <a:cubicBezTo>
                      <a:pt x="90" y="70"/>
                      <a:pt x="88" y="71"/>
                      <a:pt x="88" y="72"/>
                    </a:cubicBezTo>
                    <a:cubicBezTo>
                      <a:pt x="86" y="78"/>
                      <a:pt x="84" y="83"/>
                      <a:pt x="81" y="88"/>
                    </a:cubicBezTo>
                    <a:cubicBezTo>
                      <a:pt x="81" y="88"/>
                      <a:pt x="81" y="88"/>
                      <a:pt x="81" y="89"/>
                    </a:cubicBezTo>
                    <a:cubicBezTo>
                      <a:pt x="80" y="91"/>
                      <a:pt x="78" y="103"/>
                      <a:pt x="81" y="110"/>
                    </a:cubicBezTo>
                    <a:cubicBezTo>
                      <a:pt x="82" y="113"/>
                      <a:pt x="85" y="115"/>
                      <a:pt x="89" y="117"/>
                    </a:cubicBezTo>
                    <a:cubicBezTo>
                      <a:pt x="90" y="110"/>
                      <a:pt x="90" y="110"/>
                      <a:pt x="90" y="110"/>
                    </a:cubicBezTo>
                    <a:cubicBezTo>
                      <a:pt x="88" y="109"/>
                      <a:pt x="87" y="108"/>
                      <a:pt x="87" y="107"/>
                    </a:cubicBezTo>
                    <a:cubicBezTo>
                      <a:pt x="85" y="104"/>
                      <a:pt x="86" y="95"/>
                      <a:pt x="87" y="90"/>
                    </a:cubicBezTo>
                    <a:cubicBezTo>
                      <a:pt x="87" y="90"/>
                      <a:pt x="87" y="90"/>
                      <a:pt x="87" y="90"/>
                    </a:cubicBezTo>
                    <a:cubicBezTo>
                      <a:pt x="89" y="86"/>
                      <a:pt x="92" y="81"/>
                      <a:pt x="93" y="76"/>
                    </a:cubicBezTo>
                    <a:cubicBezTo>
                      <a:pt x="93" y="76"/>
                      <a:pt x="93" y="76"/>
                      <a:pt x="93" y="76"/>
                    </a:cubicBezTo>
                    <a:cubicBezTo>
                      <a:pt x="99" y="74"/>
                      <a:pt x="103" y="67"/>
                      <a:pt x="104" y="61"/>
                    </a:cubicBezTo>
                    <a:cubicBezTo>
                      <a:pt x="105" y="54"/>
                      <a:pt x="104" y="49"/>
                      <a:pt x="102" y="47"/>
                    </a:cubicBezTo>
                    <a:cubicBezTo>
                      <a:pt x="102" y="46"/>
                      <a:pt x="101" y="46"/>
                      <a:pt x="100" y="45"/>
                    </a:cubicBezTo>
                    <a:cubicBezTo>
                      <a:pt x="100" y="45"/>
                      <a:pt x="100" y="45"/>
                      <a:pt x="100" y="45"/>
                    </a:cubicBezTo>
                    <a:cubicBezTo>
                      <a:pt x="100" y="45"/>
                      <a:pt x="100" y="45"/>
                      <a:pt x="100" y="45"/>
                    </a:cubicBezTo>
                    <a:cubicBezTo>
                      <a:pt x="103" y="35"/>
                      <a:pt x="101" y="24"/>
                      <a:pt x="95" y="16"/>
                    </a:cubicBezTo>
                    <a:cubicBezTo>
                      <a:pt x="88" y="6"/>
                      <a:pt x="76" y="0"/>
                      <a:pt x="61" y="0"/>
                    </a:cubicBezTo>
                    <a:cubicBezTo>
                      <a:pt x="47" y="0"/>
                      <a:pt x="35" y="6"/>
                      <a:pt x="28" y="16"/>
                    </a:cubicBezTo>
                    <a:cubicBezTo>
                      <a:pt x="22" y="24"/>
                      <a:pt x="20" y="35"/>
                      <a:pt x="22" y="45"/>
                    </a:cubicBezTo>
                    <a:cubicBezTo>
                      <a:pt x="22" y="45"/>
                      <a:pt x="22" y="45"/>
                      <a:pt x="22" y="45"/>
                    </a:cubicBezTo>
                    <a:cubicBezTo>
                      <a:pt x="22" y="45"/>
                      <a:pt x="22" y="45"/>
                      <a:pt x="22" y="45"/>
                    </a:cubicBezTo>
                    <a:cubicBezTo>
                      <a:pt x="22" y="46"/>
                      <a:pt x="21" y="46"/>
                      <a:pt x="21" y="47"/>
                    </a:cubicBezTo>
                    <a:cubicBezTo>
                      <a:pt x="19" y="49"/>
                      <a:pt x="18" y="54"/>
                      <a:pt x="19" y="61"/>
                    </a:cubicBezTo>
                    <a:cubicBezTo>
                      <a:pt x="20" y="67"/>
                      <a:pt x="24" y="74"/>
                      <a:pt x="29" y="76"/>
                    </a:cubicBezTo>
                    <a:cubicBezTo>
                      <a:pt x="29" y="76"/>
                      <a:pt x="29" y="76"/>
                      <a:pt x="29" y="76"/>
                    </a:cubicBezTo>
                    <a:cubicBezTo>
                      <a:pt x="31" y="81"/>
                      <a:pt x="33" y="86"/>
                      <a:pt x="36" y="90"/>
                    </a:cubicBezTo>
                    <a:cubicBezTo>
                      <a:pt x="36" y="90"/>
                      <a:pt x="36" y="90"/>
                      <a:pt x="36" y="90"/>
                    </a:cubicBezTo>
                    <a:cubicBezTo>
                      <a:pt x="36" y="92"/>
                      <a:pt x="38" y="103"/>
                      <a:pt x="36" y="107"/>
                    </a:cubicBezTo>
                    <a:cubicBezTo>
                      <a:pt x="35" y="109"/>
                      <a:pt x="32" y="110"/>
                      <a:pt x="28" y="112"/>
                    </a:cubicBezTo>
                    <a:cubicBezTo>
                      <a:pt x="28" y="112"/>
                      <a:pt x="28" y="112"/>
                      <a:pt x="28" y="112"/>
                    </a:cubicBezTo>
                    <a:cubicBezTo>
                      <a:pt x="18" y="116"/>
                      <a:pt x="0" y="123"/>
                      <a:pt x="0" y="142"/>
                    </a:cubicBezTo>
                    <a:cubicBezTo>
                      <a:pt x="0" y="142"/>
                      <a:pt x="0" y="146"/>
                      <a:pt x="4" y="146"/>
                    </a:cubicBezTo>
                    <a:cubicBezTo>
                      <a:pt x="95" y="146"/>
                      <a:pt x="95" y="146"/>
                      <a:pt x="95" y="146"/>
                    </a:cubicBezTo>
                    <a:lnTo>
                      <a:pt x="92"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1" name="Freeform 132">
                <a:extLst>
                  <a:ext uri="{FF2B5EF4-FFF2-40B4-BE49-F238E27FC236}">
                    <a16:creationId xmlns:a16="http://schemas.microsoft.com/office/drawing/2014/main" id="{7B9F75C7-95DF-CBED-F3B1-B3F5637F5F2F}"/>
                  </a:ext>
                </a:extLst>
              </p:cNvPr>
              <p:cNvSpPr>
                <a:spLocks noEditPoints="1"/>
              </p:cNvSpPr>
              <p:nvPr/>
            </p:nvSpPr>
            <p:spPr bwMode="auto">
              <a:xfrm>
                <a:off x="5418931" y="3489077"/>
                <a:ext cx="277813" cy="274638"/>
              </a:xfrm>
              <a:custGeom>
                <a:avLst/>
                <a:gdLst>
                  <a:gd name="T0" fmla="*/ 49 w 87"/>
                  <a:gd name="T1" fmla="*/ 0 h 86"/>
                  <a:gd name="T2" fmla="*/ 12 w 87"/>
                  <a:gd name="T3" fmla="*/ 37 h 86"/>
                  <a:gd name="T4" fmla="*/ 21 w 87"/>
                  <a:gd name="T5" fmla="*/ 62 h 86"/>
                  <a:gd name="T6" fmla="*/ 1 w 87"/>
                  <a:gd name="T7" fmla="*/ 81 h 86"/>
                  <a:gd name="T8" fmla="*/ 0 w 87"/>
                  <a:gd name="T9" fmla="*/ 83 h 86"/>
                  <a:gd name="T10" fmla="*/ 3 w 87"/>
                  <a:gd name="T11" fmla="*/ 86 h 86"/>
                  <a:gd name="T12" fmla="*/ 5 w 87"/>
                  <a:gd name="T13" fmla="*/ 85 h 86"/>
                  <a:gd name="T14" fmla="*/ 25 w 87"/>
                  <a:gd name="T15" fmla="*/ 66 h 86"/>
                  <a:gd name="T16" fmla="*/ 49 w 87"/>
                  <a:gd name="T17" fmla="*/ 75 h 86"/>
                  <a:gd name="T18" fmla="*/ 87 w 87"/>
                  <a:gd name="T19" fmla="*/ 37 h 86"/>
                  <a:gd name="T20" fmla="*/ 49 w 87"/>
                  <a:gd name="T21" fmla="*/ 0 h 86"/>
                  <a:gd name="T22" fmla="*/ 81 w 87"/>
                  <a:gd name="T23" fmla="*/ 37 h 86"/>
                  <a:gd name="T24" fmla="*/ 49 w 87"/>
                  <a:gd name="T25" fmla="*/ 69 h 86"/>
                  <a:gd name="T26" fmla="*/ 18 w 87"/>
                  <a:gd name="T27" fmla="*/ 37 h 86"/>
                  <a:gd name="T28" fmla="*/ 49 w 87"/>
                  <a:gd name="T29" fmla="*/ 6 h 86"/>
                  <a:gd name="T30" fmla="*/ 81 w 87"/>
                  <a:gd name="T31" fmla="*/ 3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 h="86">
                    <a:moveTo>
                      <a:pt x="49" y="0"/>
                    </a:moveTo>
                    <a:cubicBezTo>
                      <a:pt x="29" y="0"/>
                      <a:pt x="12" y="17"/>
                      <a:pt x="12" y="37"/>
                    </a:cubicBezTo>
                    <a:cubicBezTo>
                      <a:pt x="12" y="46"/>
                      <a:pt x="15" y="55"/>
                      <a:pt x="21" y="62"/>
                    </a:cubicBezTo>
                    <a:cubicBezTo>
                      <a:pt x="1" y="81"/>
                      <a:pt x="1" y="81"/>
                      <a:pt x="1" y="81"/>
                    </a:cubicBezTo>
                    <a:cubicBezTo>
                      <a:pt x="0" y="82"/>
                      <a:pt x="0" y="82"/>
                      <a:pt x="0" y="83"/>
                    </a:cubicBezTo>
                    <a:cubicBezTo>
                      <a:pt x="0" y="85"/>
                      <a:pt x="2" y="86"/>
                      <a:pt x="3" y="86"/>
                    </a:cubicBezTo>
                    <a:cubicBezTo>
                      <a:pt x="4" y="86"/>
                      <a:pt x="5" y="86"/>
                      <a:pt x="5" y="85"/>
                    </a:cubicBezTo>
                    <a:cubicBezTo>
                      <a:pt x="25" y="66"/>
                      <a:pt x="25" y="66"/>
                      <a:pt x="25" y="66"/>
                    </a:cubicBezTo>
                    <a:cubicBezTo>
                      <a:pt x="32" y="72"/>
                      <a:pt x="40" y="75"/>
                      <a:pt x="49" y="75"/>
                    </a:cubicBezTo>
                    <a:cubicBezTo>
                      <a:pt x="70" y="75"/>
                      <a:pt x="87" y="58"/>
                      <a:pt x="87" y="37"/>
                    </a:cubicBezTo>
                    <a:cubicBezTo>
                      <a:pt x="87" y="17"/>
                      <a:pt x="70" y="0"/>
                      <a:pt x="49" y="0"/>
                    </a:cubicBezTo>
                    <a:close/>
                    <a:moveTo>
                      <a:pt x="81" y="37"/>
                    </a:moveTo>
                    <a:cubicBezTo>
                      <a:pt x="81" y="55"/>
                      <a:pt x="67" y="69"/>
                      <a:pt x="49" y="69"/>
                    </a:cubicBezTo>
                    <a:cubicBezTo>
                      <a:pt x="32" y="69"/>
                      <a:pt x="18" y="55"/>
                      <a:pt x="18" y="37"/>
                    </a:cubicBezTo>
                    <a:cubicBezTo>
                      <a:pt x="18" y="20"/>
                      <a:pt x="32" y="6"/>
                      <a:pt x="49" y="6"/>
                    </a:cubicBezTo>
                    <a:cubicBezTo>
                      <a:pt x="67" y="6"/>
                      <a:pt x="81" y="20"/>
                      <a:pt x="81"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42" name="Rectangle 41">
            <a:extLst>
              <a:ext uri="{FF2B5EF4-FFF2-40B4-BE49-F238E27FC236}">
                <a16:creationId xmlns:a16="http://schemas.microsoft.com/office/drawing/2014/main" id="{D4D20D87-9EB7-A520-B31A-766EFCDF42A1}"/>
              </a:ext>
            </a:extLst>
          </p:cNvPr>
          <p:cNvSpPr/>
          <p:nvPr/>
        </p:nvSpPr>
        <p:spPr>
          <a:xfrm>
            <a:off x="4290356" y="4301005"/>
            <a:ext cx="1369536" cy="1601076"/>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spcAft>
                <a:spcPts val="600"/>
              </a:spcAft>
            </a:pPr>
            <a:r>
              <a:rPr lang="en-AU" sz="1000" dirty="0">
                <a:solidFill>
                  <a:schemeClr val="accent6"/>
                </a:solidFill>
              </a:rPr>
              <a:t>Allocated planner contacts the applicant to arrange a date and time for the meeting within </a:t>
            </a:r>
            <a:r>
              <a:rPr lang="en-AU" sz="1000" dirty="0">
                <a:solidFill>
                  <a:schemeClr val="accent6"/>
                </a:solidFill>
                <a:highlight>
                  <a:srgbClr val="FFFF00"/>
                </a:highlight>
              </a:rPr>
              <a:t>&lt;X days&gt;</a:t>
            </a:r>
            <a:r>
              <a:rPr lang="en-AU" sz="1000" dirty="0">
                <a:solidFill>
                  <a:schemeClr val="accent6"/>
                </a:solidFill>
              </a:rPr>
              <a:t>  from allocation. For all basic pre-apps, </a:t>
            </a:r>
            <a:r>
              <a:rPr lang="en-AU" sz="1000" dirty="0">
                <a:solidFill>
                  <a:schemeClr val="accent6"/>
                </a:solidFill>
                <a:highlight>
                  <a:srgbClr val="FFFF00"/>
                </a:highlight>
              </a:rPr>
              <a:t>&lt;insert responsible person&gt;</a:t>
            </a:r>
            <a:r>
              <a:rPr lang="en-AU" sz="1000" dirty="0">
                <a:solidFill>
                  <a:schemeClr val="accent6"/>
                </a:solidFill>
              </a:rPr>
              <a:t>  schedules the pre-application meeting in a planner's calendar.</a:t>
            </a:r>
            <a:br>
              <a:rPr lang="en-AU" sz="1000" dirty="0">
                <a:solidFill>
                  <a:schemeClr val="accent6"/>
                </a:solidFill>
              </a:rPr>
            </a:br>
            <a:endParaRPr lang="en-AU" sz="1000" dirty="0">
              <a:solidFill>
                <a:schemeClr val="accent6"/>
              </a:solidFill>
            </a:endParaRPr>
          </a:p>
          <a:p>
            <a:r>
              <a:rPr lang="en-AU" sz="1000" b="1" dirty="0">
                <a:solidFill>
                  <a:schemeClr val="accent6"/>
                </a:solidFill>
              </a:rPr>
              <a:t>Scheduling timeframe</a:t>
            </a:r>
            <a:br>
              <a:rPr lang="en-AU" sz="1000" b="1" dirty="0">
                <a:solidFill>
                  <a:schemeClr val="accent6"/>
                </a:solidFill>
              </a:rPr>
            </a:br>
            <a:r>
              <a:rPr lang="en-AU" sz="1000" dirty="0">
                <a:solidFill>
                  <a:schemeClr val="accent6"/>
                </a:solidFill>
                <a:highlight>
                  <a:srgbClr val="FFFF00"/>
                </a:highlight>
              </a:rPr>
              <a:t>&lt;insert required timeframe between allocation and scheduling of meeting&gt;</a:t>
            </a:r>
            <a:r>
              <a:rPr lang="en-AU" sz="1000" dirty="0">
                <a:solidFill>
                  <a:schemeClr val="accent6"/>
                </a:solidFill>
              </a:rPr>
              <a:t> </a:t>
            </a:r>
            <a:endParaRPr lang="en-AU" sz="1000" b="1" dirty="0">
              <a:solidFill>
                <a:schemeClr val="accent6"/>
              </a:solidFill>
            </a:endParaRPr>
          </a:p>
        </p:txBody>
      </p:sp>
      <p:sp>
        <p:nvSpPr>
          <p:cNvPr id="43" name="Rectangle 42">
            <a:extLst>
              <a:ext uri="{FF2B5EF4-FFF2-40B4-BE49-F238E27FC236}">
                <a16:creationId xmlns:a16="http://schemas.microsoft.com/office/drawing/2014/main" id="{B9F6819B-10FF-C634-E580-4DEA5ADD91B6}"/>
              </a:ext>
            </a:extLst>
          </p:cNvPr>
          <p:cNvSpPr/>
          <p:nvPr/>
        </p:nvSpPr>
        <p:spPr>
          <a:xfrm>
            <a:off x="5732025" y="4287452"/>
            <a:ext cx="735196" cy="1601076"/>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000" dirty="0">
                <a:solidFill>
                  <a:schemeClr val="accent6"/>
                </a:solidFill>
              </a:rPr>
              <a:t>Planner reviews provided documentation and asks clarifying questions if needed</a:t>
            </a:r>
          </a:p>
        </p:txBody>
      </p:sp>
      <p:grpSp>
        <p:nvGrpSpPr>
          <p:cNvPr id="54" name="Group 53">
            <a:extLst>
              <a:ext uri="{FF2B5EF4-FFF2-40B4-BE49-F238E27FC236}">
                <a16:creationId xmlns:a16="http://schemas.microsoft.com/office/drawing/2014/main" id="{DF697169-F82A-C29A-6B4D-3173C9A949B6}"/>
              </a:ext>
              <a:ext uri="{C183D7F6-B498-43B3-948B-1728B52AA6E4}">
                <adec:decorative xmlns:adec="http://schemas.microsoft.com/office/drawing/2017/decorative" val="1"/>
              </a:ext>
            </a:extLst>
          </p:cNvPr>
          <p:cNvGrpSpPr/>
          <p:nvPr/>
        </p:nvGrpSpPr>
        <p:grpSpPr>
          <a:xfrm>
            <a:off x="4621058" y="3748155"/>
            <a:ext cx="442209" cy="442209"/>
            <a:chOff x="7827035" y="4263084"/>
            <a:chExt cx="442209" cy="442209"/>
          </a:xfrm>
        </p:grpSpPr>
        <p:sp>
          <p:nvSpPr>
            <p:cNvPr id="10" name="Oval 9">
              <a:extLst>
                <a:ext uri="{FF2B5EF4-FFF2-40B4-BE49-F238E27FC236}">
                  <a16:creationId xmlns:a16="http://schemas.microsoft.com/office/drawing/2014/main" id="{A34A48C1-3A2D-34BA-C618-884CE8535549}"/>
                </a:ext>
              </a:extLst>
            </p:cNvPr>
            <p:cNvSpPr/>
            <p:nvPr/>
          </p:nvSpPr>
          <p:spPr>
            <a:xfrm>
              <a:off x="7827035" y="4263084"/>
              <a:ext cx="442209" cy="442209"/>
            </a:xfrm>
            <a:prstGeom prst="ellipse">
              <a:avLst/>
            </a:prstGeom>
            <a:solidFill>
              <a:schemeClr val="accent6"/>
            </a:solidFill>
            <a:ln w="349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64" name="Group 63">
              <a:extLst>
                <a:ext uri="{FF2B5EF4-FFF2-40B4-BE49-F238E27FC236}">
                  <a16:creationId xmlns:a16="http://schemas.microsoft.com/office/drawing/2014/main" id="{3D195234-B280-F1CF-3118-EAC041FB5995}"/>
                </a:ext>
              </a:extLst>
            </p:cNvPr>
            <p:cNvGrpSpPr>
              <a:grpSpLocks noChangeAspect="1"/>
            </p:cNvGrpSpPr>
            <p:nvPr/>
          </p:nvGrpSpPr>
          <p:grpSpPr>
            <a:xfrm>
              <a:off x="7945863" y="4386963"/>
              <a:ext cx="202200" cy="186828"/>
              <a:chOff x="1785938" y="4398963"/>
              <a:chExt cx="542925" cy="501650"/>
            </a:xfrm>
            <a:solidFill>
              <a:schemeClr val="bg1"/>
            </a:solidFill>
          </p:grpSpPr>
          <p:sp>
            <p:nvSpPr>
              <p:cNvPr id="65" name="Freeform 71">
                <a:extLst>
                  <a:ext uri="{FF2B5EF4-FFF2-40B4-BE49-F238E27FC236}">
                    <a16:creationId xmlns:a16="http://schemas.microsoft.com/office/drawing/2014/main" id="{56C73506-6E27-62E8-A17D-635961C7C422}"/>
                  </a:ext>
                </a:extLst>
              </p:cNvPr>
              <p:cNvSpPr>
                <a:spLocks/>
              </p:cNvSpPr>
              <p:nvPr/>
            </p:nvSpPr>
            <p:spPr bwMode="auto">
              <a:xfrm>
                <a:off x="1997075" y="4702176"/>
                <a:ext cx="44450" cy="44450"/>
              </a:xfrm>
              <a:custGeom>
                <a:avLst/>
                <a:gdLst>
                  <a:gd name="T0" fmla="*/ 0 w 28"/>
                  <a:gd name="T1" fmla="*/ 0 h 28"/>
                  <a:gd name="T2" fmla="*/ 28 w 28"/>
                  <a:gd name="T3" fmla="*/ 0 h 28"/>
                  <a:gd name="T4" fmla="*/ 28 w 28"/>
                  <a:gd name="T5" fmla="*/ 28 h 28"/>
                  <a:gd name="T6" fmla="*/ 0 w 28"/>
                  <a:gd name="T7" fmla="*/ 28 h 28"/>
                  <a:gd name="T8" fmla="*/ 0 w 28"/>
                  <a:gd name="T9" fmla="*/ 0 h 28"/>
                  <a:gd name="T10" fmla="*/ 0 w 28"/>
                  <a:gd name="T11" fmla="*/ 0 h 28"/>
                </a:gdLst>
                <a:ahLst/>
                <a:cxnLst>
                  <a:cxn ang="0">
                    <a:pos x="T0" y="T1"/>
                  </a:cxn>
                  <a:cxn ang="0">
                    <a:pos x="T2" y="T3"/>
                  </a:cxn>
                  <a:cxn ang="0">
                    <a:pos x="T4" y="T5"/>
                  </a:cxn>
                  <a:cxn ang="0">
                    <a:pos x="T6" y="T7"/>
                  </a:cxn>
                  <a:cxn ang="0">
                    <a:pos x="T8" y="T9"/>
                  </a:cxn>
                  <a:cxn ang="0">
                    <a:pos x="T10" y="T11"/>
                  </a:cxn>
                </a:cxnLst>
                <a:rect l="0" t="0" r="r" b="b"/>
                <a:pathLst>
                  <a:path w="28" h="28">
                    <a:moveTo>
                      <a:pt x="0" y="0"/>
                    </a:moveTo>
                    <a:lnTo>
                      <a:pt x="28" y="0"/>
                    </a:lnTo>
                    <a:lnTo>
                      <a:pt x="28"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6" name="Freeform 72">
                <a:extLst>
                  <a:ext uri="{FF2B5EF4-FFF2-40B4-BE49-F238E27FC236}">
                    <a16:creationId xmlns:a16="http://schemas.microsoft.com/office/drawing/2014/main" id="{34776620-3116-50E9-3D7F-845E15242724}"/>
                  </a:ext>
                </a:extLst>
              </p:cNvPr>
              <p:cNvSpPr>
                <a:spLocks/>
              </p:cNvSpPr>
              <p:nvPr/>
            </p:nvSpPr>
            <p:spPr bwMode="auto">
              <a:xfrm>
                <a:off x="1997075" y="4786313"/>
                <a:ext cx="44450" cy="44450"/>
              </a:xfrm>
              <a:custGeom>
                <a:avLst/>
                <a:gdLst>
                  <a:gd name="T0" fmla="*/ 0 w 28"/>
                  <a:gd name="T1" fmla="*/ 0 h 28"/>
                  <a:gd name="T2" fmla="*/ 28 w 28"/>
                  <a:gd name="T3" fmla="*/ 0 h 28"/>
                  <a:gd name="T4" fmla="*/ 28 w 28"/>
                  <a:gd name="T5" fmla="*/ 28 h 28"/>
                  <a:gd name="T6" fmla="*/ 0 w 28"/>
                  <a:gd name="T7" fmla="*/ 28 h 28"/>
                  <a:gd name="T8" fmla="*/ 0 w 28"/>
                  <a:gd name="T9" fmla="*/ 0 h 28"/>
                  <a:gd name="T10" fmla="*/ 0 w 28"/>
                  <a:gd name="T11" fmla="*/ 0 h 28"/>
                </a:gdLst>
                <a:ahLst/>
                <a:cxnLst>
                  <a:cxn ang="0">
                    <a:pos x="T0" y="T1"/>
                  </a:cxn>
                  <a:cxn ang="0">
                    <a:pos x="T2" y="T3"/>
                  </a:cxn>
                  <a:cxn ang="0">
                    <a:pos x="T4" y="T5"/>
                  </a:cxn>
                  <a:cxn ang="0">
                    <a:pos x="T6" y="T7"/>
                  </a:cxn>
                  <a:cxn ang="0">
                    <a:pos x="T8" y="T9"/>
                  </a:cxn>
                  <a:cxn ang="0">
                    <a:pos x="T10" y="T11"/>
                  </a:cxn>
                </a:cxnLst>
                <a:rect l="0" t="0" r="r" b="b"/>
                <a:pathLst>
                  <a:path w="28" h="28">
                    <a:moveTo>
                      <a:pt x="0" y="0"/>
                    </a:moveTo>
                    <a:lnTo>
                      <a:pt x="28" y="0"/>
                    </a:lnTo>
                    <a:lnTo>
                      <a:pt x="28"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7" name="Freeform 73">
                <a:extLst>
                  <a:ext uri="{FF2B5EF4-FFF2-40B4-BE49-F238E27FC236}">
                    <a16:creationId xmlns:a16="http://schemas.microsoft.com/office/drawing/2014/main" id="{D2A95229-4DE7-0093-B10C-1CAF2890844A}"/>
                  </a:ext>
                </a:extLst>
              </p:cNvPr>
              <p:cNvSpPr>
                <a:spLocks/>
              </p:cNvSpPr>
              <p:nvPr/>
            </p:nvSpPr>
            <p:spPr bwMode="auto">
              <a:xfrm>
                <a:off x="1997075" y="4616451"/>
                <a:ext cx="44450" cy="44450"/>
              </a:xfrm>
              <a:custGeom>
                <a:avLst/>
                <a:gdLst>
                  <a:gd name="T0" fmla="*/ 0 w 28"/>
                  <a:gd name="T1" fmla="*/ 0 h 28"/>
                  <a:gd name="T2" fmla="*/ 28 w 28"/>
                  <a:gd name="T3" fmla="*/ 0 h 28"/>
                  <a:gd name="T4" fmla="*/ 28 w 28"/>
                  <a:gd name="T5" fmla="*/ 28 h 28"/>
                  <a:gd name="T6" fmla="*/ 0 w 28"/>
                  <a:gd name="T7" fmla="*/ 28 h 28"/>
                  <a:gd name="T8" fmla="*/ 0 w 28"/>
                  <a:gd name="T9" fmla="*/ 0 h 28"/>
                  <a:gd name="T10" fmla="*/ 0 w 28"/>
                  <a:gd name="T11" fmla="*/ 0 h 28"/>
                </a:gdLst>
                <a:ahLst/>
                <a:cxnLst>
                  <a:cxn ang="0">
                    <a:pos x="T0" y="T1"/>
                  </a:cxn>
                  <a:cxn ang="0">
                    <a:pos x="T2" y="T3"/>
                  </a:cxn>
                  <a:cxn ang="0">
                    <a:pos x="T4" y="T5"/>
                  </a:cxn>
                  <a:cxn ang="0">
                    <a:pos x="T6" y="T7"/>
                  </a:cxn>
                  <a:cxn ang="0">
                    <a:pos x="T8" y="T9"/>
                  </a:cxn>
                  <a:cxn ang="0">
                    <a:pos x="T10" y="T11"/>
                  </a:cxn>
                </a:cxnLst>
                <a:rect l="0" t="0" r="r" b="b"/>
                <a:pathLst>
                  <a:path w="28" h="28">
                    <a:moveTo>
                      <a:pt x="0" y="0"/>
                    </a:moveTo>
                    <a:lnTo>
                      <a:pt x="28" y="0"/>
                    </a:lnTo>
                    <a:lnTo>
                      <a:pt x="28"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8" name="Freeform 74">
                <a:extLst>
                  <a:ext uri="{FF2B5EF4-FFF2-40B4-BE49-F238E27FC236}">
                    <a16:creationId xmlns:a16="http://schemas.microsoft.com/office/drawing/2014/main" id="{F44733AF-6804-726E-4DEE-B8650C5053D9}"/>
                  </a:ext>
                </a:extLst>
              </p:cNvPr>
              <p:cNvSpPr>
                <a:spLocks/>
              </p:cNvSpPr>
              <p:nvPr/>
            </p:nvSpPr>
            <p:spPr bwMode="auto">
              <a:xfrm>
                <a:off x="1920875" y="4702176"/>
                <a:ext cx="47625" cy="44450"/>
              </a:xfrm>
              <a:custGeom>
                <a:avLst/>
                <a:gdLst>
                  <a:gd name="T0" fmla="*/ 0 w 30"/>
                  <a:gd name="T1" fmla="*/ 0 h 28"/>
                  <a:gd name="T2" fmla="*/ 30 w 30"/>
                  <a:gd name="T3" fmla="*/ 0 h 28"/>
                  <a:gd name="T4" fmla="*/ 30 w 30"/>
                  <a:gd name="T5" fmla="*/ 28 h 28"/>
                  <a:gd name="T6" fmla="*/ 0 w 30"/>
                  <a:gd name="T7" fmla="*/ 28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30" y="0"/>
                    </a:lnTo>
                    <a:lnTo>
                      <a:pt x="30"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 name="Freeform 75">
                <a:extLst>
                  <a:ext uri="{FF2B5EF4-FFF2-40B4-BE49-F238E27FC236}">
                    <a16:creationId xmlns:a16="http://schemas.microsoft.com/office/drawing/2014/main" id="{28D1A2C5-0A8F-C495-89C7-A8C2B21DADA0}"/>
                  </a:ext>
                </a:extLst>
              </p:cNvPr>
              <p:cNvSpPr>
                <a:spLocks/>
              </p:cNvSpPr>
              <p:nvPr/>
            </p:nvSpPr>
            <p:spPr bwMode="auto">
              <a:xfrm>
                <a:off x="1920875" y="4616451"/>
                <a:ext cx="47625" cy="44450"/>
              </a:xfrm>
              <a:custGeom>
                <a:avLst/>
                <a:gdLst>
                  <a:gd name="T0" fmla="*/ 0 w 30"/>
                  <a:gd name="T1" fmla="*/ 0 h 28"/>
                  <a:gd name="T2" fmla="*/ 30 w 30"/>
                  <a:gd name="T3" fmla="*/ 0 h 28"/>
                  <a:gd name="T4" fmla="*/ 30 w 30"/>
                  <a:gd name="T5" fmla="*/ 28 h 28"/>
                  <a:gd name="T6" fmla="*/ 0 w 30"/>
                  <a:gd name="T7" fmla="*/ 28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30" y="0"/>
                    </a:lnTo>
                    <a:lnTo>
                      <a:pt x="30"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2" name="Freeform 76">
                <a:extLst>
                  <a:ext uri="{FF2B5EF4-FFF2-40B4-BE49-F238E27FC236}">
                    <a16:creationId xmlns:a16="http://schemas.microsoft.com/office/drawing/2014/main" id="{FA0B4C17-530F-D54A-9FB0-542D274FFF52}"/>
                  </a:ext>
                </a:extLst>
              </p:cNvPr>
              <p:cNvSpPr>
                <a:spLocks/>
              </p:cNvSpPr>
              <p:nvPr/>
            </p:nvSpPr>
            <p:spPr bwMode="auto">
              <a:xfrm>
                <a:off x="2070100" y="4786313"/>
                <a:ext cx="44450" cy="44450"/>
              </a:xfrm>
              <a:custGeom>
                <a:avLst/>
                <a:gdLst>
                  <a:gd name="T0" fmla="*/ 0 w 28"/>
                  <a:gd name="T1" fmla="*/ 0 h 28"/>
                  <a:gd name="T2" fmla="*/ 28 w 28"/>
                  <a:gd name="T3" fmla="*/ 0 h 28"/>
                  <a:gd name="T4" fmla="*/ 28 w 28"/>
                  <a:gd name="T5" fmla="*/ 28 h 28"/>
                  <a:gd name="T6" fmla="*/ 0 w 28"/>
                  <a:gd name="T7" fmla="*/ 28 h 28"/>
                  <a:gd name="T8" fmla="*/ 0 w 28"/>
                  <a:gd name="T9" fmla="*/ 0 h 28"/>
                  <a:gd name="T10" fmla="*/ 0 w 28"/>
                  <a:gd name="T11" fmla="*/ 0 h 28"/>
                </a:gdLst>
                <a:ahLst/>
                <a:cxnLst>
                  <a:cxn ang="0">
                    <a:pos x="T0" y="T1"/>
                  </a:cxn>
                  <a:cxn ang="0">
                    <a:pos x="T2" y="T3"/>
                  </a:cxn>
                  <a:cxn ang="0">
                    <a:pos x="T4" y="T5"/>
                  </a:cxn>
                  <a:cxn ang="0">
                    <a:pos x="T6" y="T7"/>
                  </a:cxn>
                  <a:cxn ang="0">
                    <a:pos x="T8" y="T9"/>
                  </a:cxn>
                  <a:cxn ang="0">
                    <a:pos x="T10" y="T11"/>
                  </a:cxn>
                </a:cxnLst>
                <a:rect l="0" t="0" r="r" b="b"/>
                <a:pathLst>
                  <a:path w="28" h="28">
                    <a:moveTo>
                      <a:pt x="0" y="0"/>
                    </a:moveTo>
                    <a:lnTo>
                      <a:pt x="28" y="0"/>
                    </a:lnTo>
                    <a:lnTo>
                      <a:pt x="28"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4" name="Freeform 77">
                <a:extLst>
                  <a:ext uri="{FF2B5EF4-FFF2-40B4-BE49-F238E27FC236}">
                    <a16:creationId xmlns:a16="http://schemas.microsoft.com/office/drawing/2014/main" id="{6C08D2CF-A15E-D566-356F-83A84FAD19A3}"/>
                  </a:ext>
                </a:extLst>
              </p:cNvPr>
              <p:cNvSpPr>
                <a:spLocks/>
              </p:cNvSpPr>
              <p:nvPr/>
            </p:nvSpPr>
            <p:spPr bwMode="auto">
              <a:xfrm>
                <a:off x="2070100" y="4702176"/>
                <a:ext cx="44450" cy="44450"/>
              </a:xfrm>
              <a:custGeom>
                <a:avLst/>
                <a:gdLst>
                  <a:gd name="T0" fmla="*/ 0 w 28"/>
                  <a:gd name="T1" fmla="*/ 0 h 28"/>
                  <a:gd name="T2" fmla="*/ 28 w 28"/>
                  <a:gd name="T3" fmla="*/ 0 h 28"/>
                  <a:gd name="T4" fmla="*/ 28 w 28"/>
                  <a:gd name="T5" fmla="*/ 28 h 28"/>
                  <a:gd name="T6" fmla="*/ 0 w 28"/>
                  <a:gd name="T7" fmla="*/ 28 h 28"/>
                  <a:gd name="T8" fmla="*/ 0 w 28"/>
                  <a:gd name="T9" fmla="*/ 0 h 28"/>
                  <a:gd name="T10" fmla="*/ 0 w 28"/>
                  <a:gd name="T11" fmla="*/ 0 h 28"/>
                </a:gdLst>
                <a:ahLst/>
                <a:cxnLst>
                  <a:cxn ang="0">
                    <a:pos x="T0" y="T1"/>
                  </a:cxn>
                  <a:cxn ang="0">
                    <a:pos x="T2" y="T3"/>
                  </a:cxn>
                  <a:cxn ang="0">
                    <a:pos x="T4" y="T5"/>
                  </a:cxn>
                  <a:cxn ang="0">
                    <a:pos x="T6" y="T7"/>
                  </a:cxn>
                  <a:cxn ang="0">
                    <a:pos x="T8" y="T9"/>
                  </a:cxn>
                  <a:cxn ang="0">
                    <a:pos x="T10" y="T11"/>
                  </a:cxn>
                </a:cxnLst>
                <a:rect l="0" t="0" r="r" b="b"/>
                <a:pathLst>
                  <a:path w="28" h="28">
                    <a:moveTo>
                      <a:pt x="0" y="0"/>
                    </a:moveTo>
                    <a:lnTo>
                      <a:pt x="28" y="0"/>
                    </a:lnTo>
                    <a:lnTo>
                      <a:pt x="28"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6" name="Freeform 78">
                <a:extLst>
                  <a:ext uri="{FF2B5EF4-FFF2-40B4-BE49-F238E27FC236}">
                    <a16:creationId xmlns:a16="http://schemas.microsoft.com/office/drawing/2014/main" id="{FBDE3A26-81A7-8B93-29B4-B71C3AE8AFDA}"/>
                  </a:ext>
                </a:extLst>
              </p:cNvPr>
              <p:cNvSpPr>
                <a:spLocks/>
              </p:cNvSpPr>
              <p:nvPr/>
            </p:nvSpPr>
            <p:spPr bwMode="auto">
              <a:xfrm>
                <a:off x="1920875" y="4786313"/>
                <a:ext cx="47625" cy="44450"/>
              </a:xfrm>
              <a:custGeom>
                <a:avLst/>
                <a:gdLst>
                  <a:gd name="T0" fmla="*/ 0 w 30"/>
                  <a:gd name="T1" fmla="*/ 0 h 28"/>
                  <a:gd name="T2" fmla="*/ 30 w 30"/>
                  <a:gd name="T3" fmla="*/ 0 h 28"/>
                  <a:gd name="T4" fmla="*/ 30 w 30"/>
                  <a:gd name="T5" fmla="*/ 28 h 28"/>
                  <a:gd name="T6" fmla="*/ 0 w 30"/>
                  <a:gd name="T7" fmla="*/ 28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30" y="0"/>
                    </a:lnTo>
                    <a:lnTo>
                      <a:pt x="30"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7" name="Freeform 79">
                <a:extLst>
                  <a:ext uri="{FF2B5EF4-FFF2-40B4-BE49-F238E27FC236}">
                    <a16:creationId xmlns:a16="http://schemas.microsoft.com/office/drawing/2014/main" id="{26C12FF4-AC1F-F84E-FCA4-31AA5EC67037}"/>
                  </a:ext>
                </a:extLst>
              </p:cNvPr>
              <p:cNvSpPr>
                <a:spLocks noEditPoints="1"/>
              </p:cNvSpPr>
              <p:nvPr/>
            </p:nvSpPr>
            <p:spPr bwMode="auto">
              <a:xfrm>
                <a:off x="1785938" y="4398963"/>
                <a:ext cx="542925" cy="501650"/>
              </a:xfrm>
              <a:custGeom>
                <a:avLst/>
                <a:gdLst>
                  <a:gd name="T0" fmla="*/ 154 w 170"/>
                  <a:gd name="T1" fmla="*/ 7 h 157"/>
                  <a:gd name="T2" fmla="*/ 139 w 170"/>
                  <a:gd name="T3" fmla="*/ 7 h 157"/>
                  <a:gd name="T4" fmla="*/ 139 w 170"/>
                  <a:gd name="T5" fmla="*/ 4 h 157"/>
                  <a:gd name="T6" fmla="*/ 135 w 170"/>
                  <a:gd name="T7" fmla="*/ 0 h 157"/>
                  <a:gd name="T8" fmla="*/ 132 w 170"/>
                  <a:gd name="T9" fmla="*/ 4 h 157"/>
                  <a:gd name="T10" fmla="*/ 132 w 170"/>
                  <a:gd name="T11" fmla="*/ 7 h 157"/>
                  <a:gd name="T12" fmla="*/ 37 w 170"/>
                  <a:gd name="T13" fmla="*/ 7 h 157"/>
                  <a:gd name="T14" fmla="*/ 37 w 170"/>
                  <a:gd name="T15" fmla="*/ 4 h 157"/>
                  <a:gd name="T16" fmla="*/ 35 w 170"/>
                  <a:gd name="T17" fmla="*/ 0 h 157"/>
                  <a:gd name="T18" fmla="*/ 31 w 170"/>
                  <a:gd name="T19" fmla="*/ 4 h 157"/>
                  <a:gd name="T20" fmla="*/ 31 w 170"/>
                  <a:gd name="T21" fmla="*/ 7 h 157"/>
                  <a:gd name="T22" fmla="*/ 15 w 170"/>
                  <a:gd name="T23" fmla="*/ 7 h 157"/>
                  <a:gd name="T24" fmla="*/ 0 w 170"/>
                  <a:gd name="T25" fmla="*/ 22 h 157"/>
                  <a:gd name="T26" fmla="*/ 0 w 170"/>
                  <a:gd name="T27" fmla="*/ 143 h 157"/>
                  <a:gd name="T28" fmla="*/ 15 w 170"/>
                  <a:gd name="T29" fmla="*/ 157 h 157"/>
                  <a:gd name="T30" fmla="*/ 154 w 170"/>
                  <a:gd name="T31" fmla="*/ 157 h 157"/>
                  <a:gd name="T32" fmla="*/ 170 w 170"/>
                  <a:gd name="T33" fmla="*/ 143 h 157"/>
                  <a:gd name="T34" fmla="*/ 170 w 170"/>
                  <a:gd name="T35" fmla="*/ 22 h 157"/>
                  <a:gd name="T36" fmla="*/ 154 w 170"/>
                  <a:gd name="T37" fmla="*/ 7 h 157"/>
                  <a:gd name="T38" fmla="*/ 163 w 170"/>
                  <a:gd name="T39" fmla="*/ 143 h 157"/>
                  <a:gd name="T40" fmla="*/ 154 w 170"/>
                  <a:gd name="T41" fmla="*/ 151 h 157"/>
                  <a:gd name="T42" fmla="*/ 15 w 170"/>
                  <a:gd name="T43" fmla="*/ 151 h 157"/>
                  <a:gd name="T44" fmla="*/ 7 w 170"/>
                  <a:gd name="T45" fmla="*/ 143 h 157"/>
                  <a:gd name="T46" fmla="*/ 7 w 170"/>
                  <a:gd name="T47" fmla="*/ 52 h 157"/>
                  <a:gd name="T48" fmla="*/ 163 w 170"/>
                  <a:gd name="T49" fmla="*/ 52 h 157"/>
                  <a:gd name="T50" fmla="*/ 163 w 170"/>
                  <a:gd name="T51" fmla="*/ 143 h 157"/>
                  <a:gd name="T52" fmla="*/ 163 w 170"/>
                  <a:gd name="T53" fmla="*/ 143 h 157"/>
                  <a:gd name="T54" fmla="*/ 163 w 170"/>
                  <a:gd name="T55" fmla="*/ 46 h 157"/>
                  <a:gd name="T56" fmla="*/ 7 w 170"/>
                  <a:gd name="T57" fmla="*/ 46 h 157"/>
                  <a:gd name="T58" fmla="*/ 7 w 170"/>
                  <a:gd name="T59" fmla="*/ 22 h 157"/>
                  <a:gd name="T60" fmla="*/ 15 w 170"/>
                  <a:gd name="T61" fmla="*/ 14 h 157"/>
                  <a:gd name="T62" fmla="*/ 31 w 170"/>
                  <a:gd name="T63" fmla="*/ 14 h 157"/>
                  <a:gd name="T64" fmla="*/ 31 w 170"/>
                  <a:gd name="T65" fmla="*/ 19 h 157"/>
                  <a:gd name="T66" fmla="*/ 35 w 170"/>
                  <a:gd name="T67" fmla="*/ 22 h 157"/>
                  <a:gd name="T68" fmla="*/ 37 w 170"/>
                  <a:gd name="T69" fmla="*/ 19 h 157"/>
                  <a:gd name="T70" fmla="*/ 37 w 170"/>
                  <a:gd name="T71" fmla="*/ 14 h 157"/>
                  <a:gd name="T72" fmla="*/ 132 w 170"/>
                  <a:gd name="T73" fmla="*/ 14 h 157"/>
                  <a:gd name="T74" fmla="*/ 132 w 170"/>
                  <a:gd name="T75" fmla="*/ 19 h 157"/>
                  <a:gd name="T76" fmla="*/ 135 w 170"/>
                  <a:gd name="T77" fmla="*/ 22 h 157"/>
                  <a:gd name="T78" fmla="*/ 139 w 170"/>
                  <a:gd name="T79" fmla="*/ 19 h 157"/>
                  <a:gd name="T80" fmla="*/ 139 w 170"/>
                  <a:gd name="T81" fmla="*/ 14 h 157"/>
                  <a:gd name="T82" fmla="*/ 154 w 170"/>
                  <a:gd name="T83" fmla="*/ 14 h 157"/>
                  <a:gd name="T84" fmla="*/ 163 w 170"/>
                  <a:gd name="T85" fmla="*/ 22 h 157"/>
                  <a:gd name="T86" fmla="*/ 163 w 170"/>
                  <a:gd name="T87" fmla="*/ 46 h 157"/>
                  <a:gd name="T88" fmla="*/ 163 w 170"/>
                  <a:gd name="T89" fmla="*/ 46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0" h="157">
                    <a:moveTo>
                      <a:pt x="154" y="7"/>
                    </a:moveTo>
                    <a:cubicBezTo>
                      <a:pt x="139" y="7"/>
                      <a:pt x="139" y="7"/>
                      <a:pt x="139" y="7"/>
                    </a:cubicBezTo>
                    <a:cubicBezTo>
                      <a:pt x="139" y="4"/>
                      <a:pt x="139" y="4"/>
                      <a:pt x="139" y="4"/>
                    </a:cubicBezTo>
                    <a:cubicBezTo>
                      <a:pt x="139" y="2"/>
                      <a:pt x="137" y="0"/>
                      <a:pt x="135" y="0"/>
                    </a:cubicBezTo>
                    <a:cubicBezTo>
                      <a:pt x="134" y="0"/>
                      <a:pt x="132" y="2"/>
                      <a:pt x="132" y="4"/>
                    </a:cubicBezTo>
                    <a:cubicBezTo>
                      <a:pt x="132" y="7"/>
                      <a:pt x="132" y="7"/>
                      <a:pt x="132" y="7"/>
                    </a:cubicBezTo>
                    <a:cubicBezTo>
                      <a:pt x="37" y="7"/>
                      <a:pt x="37" y="7"/>
                      <a:pt x="37" y="7"/>
                    </a:cubicBezTo>
                    <a:cubicBezTo>
                      <a:pt x="37" y="4"/>
                      <a:pt x="37" y="4"/>
                      <a:pt x="37" y="4"/>
                    </a:cubicBezTo>
                    <a:cubicBezTo>
                      <a:pt x="37" y="2"/>
                      <a:pt x="36" y="0"/>
                      <a:pt x="35" y="0"/>
                    </a:cubicBezTo>
                    <a:cubicBezTo>
                      <a:pt x="33" y="0"/>
                      <a:pt x="31" y="2"/>
                      <a:pt x="31" y="4"/>
                    </a:cubicBezTo>
                    <a:cubicBezTo>
                      <a:pt x="31" y="7"/>
                      <a:pt x="31" y="7"/>
                      <a:pt x="31" y="7"/>
                    </a:cubicBezTo>
                    <a:cubicBezTo>
                      <a:pt x="15" y="7"/>
                      <a:pt x="15" y="7"/>
                      <a:pt x="15" y="7"/>
                    </a:cubicBezTo>
                    <a:cubicBezTo>
                      <a:pt x="7" y="7"/>
                      <a:pt x="0" y="14"/>
                      <a:pt x="0" y="22"/>
                    </a:cubicBezTo>
                    <a:cubicBezTo>
                      <a:pt x="0" y="143"/>
                      <a:pt x="0" y="143"/>
                      <a:pt x="0" y="143"/>
                    </a:cubicBezTo>
                    <a:cubicBezTo>
                      <a:pt x="0" y="151"/>
                      <a:pt x="7" y="157"/>
                      <a:pt x="15" y="157"/>
                    </a:cubicBezTo>
                    <a:cubicBezTo>
                      <a:pt x="154" y="157"/>
                      <a:pt x="154" y="157"/>
                      <a:pt x="154" y="157"/>
                    </a:cubicBezTo>
                    <a:cubicBezTo>
                      <a:pt x="163" y="157"/>
                      <a:pt x="170" y="151"/>
                      <a:pt x="170" y="143"/>
                    </a:cubicBezTo>
                    <a:cubicBezTo>
                      <a:pt x="170" y="22"/>
                      <a:pt x="170" y="22"/>
                      <a:pt x="170" y="22"/>
                    </a:cubicBezTo>
                    <a:cubicBezTo>
                      <a:pt x="170" y="14"/>
                      <a:pt x="163" y="7"/>
                      <a:pt x="154" y="7"/>
                    </a:cubicBezTo>
                    <a:close/>
                    <a:moveTo>
                      <a:pt x="163" y="143"/>
                    </a:moveTo>
                    <a:cubicBezTo>
                      <a:pt x="163" y="147"/>
                      <a:pt x="159" y="151"/>
                      <a:pt x="154" y="151"/>
                    </a:cubicBezTo>
                    <a:cubicBezTo>
                      <a:pt x="15" y="151"/>
                      <a:pt x="15" y="151"/>
                      <a:pt x="15" y="151"/>
                    </a:cubicBezTo>
                    <a:cubicBezTo>
                      <a:pt x="10" y="151"/>
                      <a:pt x="7" y="147"/>
                      <a:pt x="7" y="143"/>
                    </a:cubicBezTo>
                    <a:cubicBezTo>
                      <a:pt x="7" y="52"/>
                      <a:pt x="7" y="52"/>
                      <a:pt x="7" y="52"/>
                    </a:cubicBezTo>
                    <a:cubicBezTo>
                      <a:pt x="163" y="52"/>
                      <a:pt x="163" y="52"/>
                      <a:pt x="163" y="52"/>
                    </a:cubicBezTo>
                    <a:cubicBezTo>
                      <a:pt x="163" y="143"/>
                      <a:pt x="163" y="143"/>
                      <a:pt x="163" y="143"/>
                    </a:cubicBezTo>
                    <a:cubicBezTo>
                      <a:pt x="163" y="143"/>
                      <a:pt x="163" y="143"/>
                      <a:pt x="163" y="143"/>
                    </a:cubicBezTo>
                    <a:close/>
                    <a:moveTo>
                      <a:pt x="163" y="46"/>
                    </a:moveTo>
                    <a:cubicBezTo>
                      <a:pt x="7" y="46"/>
                      <a:pt x="7" y="46"/>
                      <a:pt x="7" y="46"/>
                    </a:cubicBezTo>
                    <a:cubicBezTo>
                      <a:pt x="7" y="22"/>
                      <a:pt x="7" y="22"/>
                      <a:pt x="7" y="22"/>
                    </a:cubicBezTo>
                    <a:cubicBezTo>
                      <a:pt x="7" y="18"/>
                      <a:pt x="10" y="14"/>
                      <a:pt x="15" y="14"/>
                    </a:cubicBezTo>
                    <a:cubicBezTo>
                      <a:pt x="31" y="14"/>
                      <a:pt x="31" y="14"/>
                      <a:pt x="31" y="14"/>
                    </a:cubicBezTo>
                    <a:cubicBezTo>
                      <a:pt x="31" y="19"/>
                      <a:pt x="31" y="19"/>
                      <a:pt x="31" y="19"/>
                    </a:cubicBezTo>
                    <a:cubicBezTo>
                      <a:pt x="31" y="20"/>
                      <a:pt x="33" y="22"/>
                      <a:pt x="35" y="22"/>
                    </a:cubicBezTo>
                    <a:cubicBezTo>
                      <a:pt x="36" y="22"/>
                      <a:pt x="37" y="20"/>
                      <a:pt x="37" y="19"/>
                    </a:cubicBezTo>
                    <a:cubicBezTo>
                      <a:pt x="37" y="14"/>
                      <a:pt x="37" y="14"/>
                      <a:pt x="37" y="14"/>
                    </a:cubicBezTo>
                    <a:cubicBezTo>
                      <a:pt x="132" y="14"/>
                      <a:pt x="132" y="14"/>
                      <a:pt x="132" y="14"/>
                    </a:cubicBezTo>
                    <a:cubicBezTo>
                      <a:pt x="132" y="19"/>
                      <a:pt x="132" y="19"/>
                      <a:pt x="132" y="19"/>
                    </a:cubicBezTo>
                    <a:cubicBezTo>
                      <a:pt x="132" y="20"/>
                      <a:pt x="134" y="22"/>
                      <a:pt x="135" y="22"/>
                    </a:cubicBezTo>
                    <a:cubicBezTo>
                      <a:pt x="137" y="22"/>
                      <a:pt x="139" y="20"/>
                      <a:pt x="139" y="19"/>
                    </a:cubicBezTo>
                    <a:cubicBezTo>
                      <a:pt x="139" y="14"/>
                      <a:pt x="139" y="14"/>
                      <a:pt x="139" y="14"/>
                    </a:cubicBezTo>
                    <a:cubicBezTo>
                      <a:pt x="154" y="14"/>
                      <a:pt x="154" y="14"/>
                      <a:pt x="154" y="14"/>
                    </a:cubicBezTo>
                    <a:cubicBezTo>
                      <a:pt x="159" y="14"/>
                      <a:pt x="163" y="18"/>
                      <a:pt x="163" y="22"/>
                    </a:cubicBezTo>
                    <a:cubicBezTo>
                      <a:pt x="163" y="46"/>
                      <a:pt x="163" y="46"/>
                      <a:pt x="163" y="46"/>
                    </a:cubicBezTo>
                    <a:cubicBezTo>
                      <a:pt x="163" y="46"/>
                      <a:pt x="163" y="46"/>
                      <a:pt x="163"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8" name="Freeform 80">
                <a:extLst>
                  <a:ext uri="{FF2B5EF4-FFF2-40B4-BE49-F238E27FC236}">
                    <a16:creationId xmlns:a16="http://schemas.microsoft.com/office/drawing/2014/main" id="{70D5A950-A2AD-E54F-8B8D-A2A0C3CCE355}"/>
                  </a:ext>
                </a:extLst>
              </p:cNvPr>
              <p:cNvSpPr>
                <a:spLocks/>
              </p:cNvSpPr>
              <p:nvPr/>
            </p:nvSpPr>
            <p:spPr bwMode="auto">
              <a:xfrm>
                <a:off x="1844675" y="4786313"/>
                <a:ext cx="47625" cy="44450"/>
              </a:xfrm>
              <a:custGeom>
                <a:avLst/>
                <a:gdLst>
                  <a:gd name="T0" fmla="*/ 0 w 30"/>
                  <a:gd name="T1" fmla="*/ 0 h 28"/>
                  <a:gd name="T2" fmla="*/ 30 w 30"/>
                  <a:gd name="T3" fmla="*/ 0 h 28"/>
                  <a:gd name="T4" fmla="*/ 30 w 30"/>
                  <a:gd name="T5" fmla="*/ 28 h 28"/>
                  <a:gd name="T6" fmla="*/ 0 w 30"/>
                  <a:gd name="T7" fmla="*/ 28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30" y="0"/>
                    </a:lnTo>
                    <a:lnTo>
                      <a:pt x="30"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9" name="Freeform 81">
                <a:extLst>
                  <a:ext uri="{FF2B5EF4-FFF2-40B4-BE49-F238E27FC236}">
                    <a16:creationId xmlns:a16="http://schemas.microsoft.com/office/drawing/2014/main" id="{52E5FBD0-64B1-5896-2EE4-99FAC428BF37}"/>
                  </a:ext>
                </a:extLst>
              </p:cNvPr>
              <p:cNvSpPr>
                <a:spLocks/>
              </p:cNvSpPr>
              <p:nvPr/>
            </p:nvSpPr>
            <p:spPr bwMode="auto">
              <a:xfrm>
                <a:off x="1844675" y="4702176"/>
                <a:ext cx="47625" cy="44450"/>
              </a:xfrm>
              <a:custGeom>
                <a:avLst/>
                <a:gdLst>
                  <a:gd name="T0" fmla="*/ 0 w 30"/>
                  <a:gd name="T1" fmla="*/ 0 h 28"/>
                  <a:gd name="T2" fmla="*/ 30 w 30"/>
                  <a:gd name="T3" fmla="*/ 0 h 28"/>
                  <a:gd name="T4" fmla="*/ 30 w 30"/>
                  <a:gd name="T5" fmla="*/ 28 h 28"/>
                  <a:gd name="T6" fmla="*/ 0 w 30"/>
                  <a:gd name="T7" fmla="*/ 28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30" y="0"/>
                    </a:lnTo>
                    <a:lnTo>
                      <a:pt x="30"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1" name="Freeform 82">
                <a:extLst>
                  <a:ext uri="{FF2B5EF4-FFF2-40B4-BE49-F238E27FC236}">
                    <a16:creationId xmlns:a16="http://schemas.microsoft.com/office/drawing/2014/main" id="{45A72484-1715-0C6D-61C6-262601366C63}"/>
                  </a:ext>
                </a:extLst>
              </p:cNvPr>
              <p:cNvSpPr>
                <a:spLocks/>
              </p:cNvSpPr>
              <p:nvPr/>
            </p:nvSpPr>
            <p:spPr bwMode="auto">
              <a:xfrm>
                <a:off x="2220913" y="4616451"/>
                <a:ext cx="47625" cy="44450"/>
              </a:xfrm>
              <a:custGeom>
                <a:avLst/>
                <a:gdLst>
                  <a:gd name="T0" fmla="*/ 0 w 30"/>
                  <a:gd name="T1" fmla="*/ 0 h 28"/>
                  <a:gd name="T2" fmla="*/ 30 w 30"/>
                  <a:gd name="T3" fmla="*/ 0 h 28"/>
                  <a:gd name="T4" fmla="*/ 30 w 30"/>
                  <a:gd name="T5" fmla="*/ 28 h 28"/>
                  <a:gd name="T6" fmla="*/ 0 w 30"/>
                  <a:gd name="T7" fmla="*/ 28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30" y="0"/>
                    </a:lnTo>
                    <a:lnTo>
                      <a:pt x="30"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2" name="Freeform 83">
                <a:extLst>
                  <a:ext uri="{FF2B5EF4-FFF2-40B4-BE49-F238E27FC236}">
                    <a16:creationId xmlns:a16="http://schemas.microsoft.com/office/drawing/2014/main" id="{8CF4BA70-9213-7A6C-89B3-12A6FB7F4A43}"/>
                  </a:ext>
                </a:extLst>
              </p:cNvPr>
              <p:cNvSpPr>
                <a:spLocks/>
              </p:cNvSpPr>
              <p:nvPr/>
            </p:nvSpPr>
            <p:spPr bwMode="auto">
              <a:xfrm>
                <a:off x="2070100" y="4616451"/>
                <a:ext cx="44450" cy="44450"/>
              </a:xfrm>
              <a:custGeom>
                <a:avLst/>
                <a:gdLst>
                  <a:gd name="T0" fmla="*/ 0 w 28"/>
                  <a:gd name="T1" fmla="*/ 0 h 28"/>
                  <a:gd name="T2" fmla="*/ 28 w 28"/>
                  <a:gd name="T3" fmla="*/ 0 h 28"/>
                  <a:gd name="T4" fmla="*/ 28 w 28"/>
                  <a:gd name="T5" fmla="*/ 28 h 28"/>
                  <a:gd name="T6" fmla="*/ 0 w 28"/>
                  <a:gd name="T7" fmla="*/ 28 h 28"/>
                  <a:gd name="T8" fmla="*/ 0 w 28"/>
                  <a:gd name="T9" fmla="*/ 0 h 28"/>
                  <a:gd name="T10" fmla="*/ 0 w 28"/>
                  <a:gd name="T11" fmla="*/ 0 h 28"/>
                </a:gdLst>
                <a:ahLst/>
                <a:cxnLst>
                  <a:cxn ang="0">
                    <a:pos x="T0" y="T1"/>
                  </a:cxn>
                  <a:cxn ang="0">
                    <a:pos x="T2" y="T3"/>
                  </a:cxn>
                  <a:cxn ang="0">
                    <a:pos x="T4" y="T5"/>
                  </a:cxn>
                  <a:cxn ang="0">
                    <a:pos x="T6" y="T7"/>
                  </a:cxn>
                  <a:cxn ang="0">
                    <a:pos x="T8" y="T9"/>
                  </a:cxn>
                  <a:cxn ang="0">
                    <a:pos x="T10" y="T11"/>
                  </a:cxn>
                </a:cxnLst>
                <a:rect l="0" t="0" r="r" b="b"/>
                <a:pathLst>
                  <a:path w="28" h="28">
                    <a:moveTo>
                      <a:pt x="0" y="0"/>
                    </a:moveTo>
                    <a:lnTo>
                      <a:pt x="28" y="0"/>
                    </a:lnTo>
                    <a:lnTo>
                      <a:pt x="28"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3" name="Freeform 84">
                <a:extLst>
                  <a:ext uri="{FF2B5EF4-FFF2-40B4-BE49-F238E27FC236}">
                    <a16:creationId xmlns:a16="http://schemas.microsoft.com/office/drawing/2014/main" id="{2C840F86-E2EA-F315-7910-E0B54D1380E8}"/>
                  </a:ext>
                </a:extLst>
              </p:cNvPr>
              <p:cNvSpPr>
                <a:spLocks/>
              </p:cNvSpPr>
              <p:nvPr/>
            </p:nvSpPr>
            <p:spPr bwMode="auto">
              <a:xfrm>
                <a:off x="1844675" y="4616451"/>
                <a:ext cx="47625" cy="44450"/>
              </a:xfrm>
              <a:custGeom>
                <a:avLst/>
                <a:gdLst>
                  <a:gd name="T0" fmla="*/ 0 w 30"/>
                  <a:gd name="T1" fmla="*/ 0 h 28"/>
                  <a:gd name="T2" fmla="*/ 30 w 30"/>
                  <a:gd name="T3" fmla="*/ 0 h 28"/>
                  <a:gd name="T4" fmla="*/ 30 w 30"/>
                  <a:gd name="T5" fmla="*/ 28 h 28"/>
                  <a:gd name="T6" fmla="*/ 0 w 30"/>
                  <a:gd name="T7" fmla="*/ 28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30" y="0"/>
                    </a:lnTo>
                    <a:lnTo>
                      <a:pt x="30"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4" name="Freeform 85">
                <a:extLst>
                  <a:ext uri="{FF2B5EF4-FFF2-40B4-BE49-F238E27FC236}">
                    <a16:creationId xmlns:a16="http://schemas.microsoft.com/office/drawing/2014/main" id="{3A49BF45-3F2F-3F7C-4C5E-0340DDF0C437}"/>
                  </a:ext>
                </a:extLst>
              </p:cNvPr>
              <p:cNvSpPr>
                <a:spLocks/>
              </p:cNvSpPr>
              <p:nvPr/>
            </p:nvSpPr>
            <p:spPr bwMode="auto">
              <a:xfrm>
                <a:off x="2147888" y="4702176"/>
                <a:ext cx="44450" cy="44450"/>
              </a:xfrm>
              <a:custGeom>
                <a:avLst/>
                <a:gdLst>
                  <a:gd name="T0" fmla="*/ 0 w 28"/>
                  <a:gd name="T1" fmla="*/ 0 h 28"/>
                  <a:gd name="T2" fmla="*/ 28 w 28"/>
                  <a:gd name="T3" fmla="*/ 0 h 28"/>
                  <a:gd name="T4" fmla="*/ 28 w 28"/>
                  <a:gd name="T5" fmla="*/ 28 h 28"/>
                  <a:gd name="T6" fmla="*/ 0 w 28"/>
                  <a:gd name="T7" fmla="*/ 28 h 28"/>
                  <a:gd name="T8" fmla="*/ 0 w 28"/>
                  <a:gd name="T9" fmla="*/ 0 h 28"/>
                  <a:gd name="T10" fmla="*/ 0 w 28"/>
                  <a:gd name="T11" fmla="*/ 0 h 28"/>
                </a:gdLst>
                <a:ahLst/>
                <a:cxnLst>
                  <a:cxn ang="0">
                    <a:pos x="T0" y="T1"/>
                  </a:cxn>
                  <a:cxn ang="0">
                    <a:pos x="T2" y="T3"/>
                  </a:cxn>
                  <a:cxn ang="0">
                    <a:pos x="T4" y="T5"/>
                  </a:cxn>
                  <a:cxn ang="0">
                    <a:pos x="T6" y="T7"/>
                  </a:cxn>
                  <a:cxn ang="0">
                    <a:pos x="T8" y="T9"/>
                  </a:cxn>
                  <a:cxn ang="0">
                    <a:pos x="T10" y="T11"/>
                  </a:cxn>
                </a:cxnLst>
                <a:rect l="0" t="0" r="r" b="b"/>
                <a:pathLst>
                  <a:path w="28" h="28">
                    <a:moveTo>
                      <a:pt x="0" y="0"/>
                    </a:moveTo>
                    <a:lnTo>
                      <a:pt x="28" y="0"/>
                    </a:lnTo>
                    <a:lnTo>
                      <a:pt x="28"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5" name="Freeform 86">
                <a:extLst>
                  <a:ext uri="{FF2B5EF4-FFF2-40B4-BE49-F238E27FC236}">
                    <a16:creationId xmlns:a16="http://schemas.microsoft.com/office/drawing/2014/main" id="{B23921EE-C45F-7290-673C-F779C8AB41C8}"/>
                  </a:ext>
                </a:extLst>
              </p:cNvPr>
              <p:cNvSpPr>
                <a:spLocks/>
              </p:cNvSpPr>
              <p:nvPr/>
            </p:nvSpPr>
            <p:spPr bwMode="auto">
              <a:xfrm>
                <a:off x="2147888" y="4616451"/>
                <a:ext cx="44450" cy="44450"/>
              </a:xfrm>
              <a:custGeom>
                <a:avLst/>
                <a:gdLst>
                  <a:gd name="T0" fmla="*/ 0 w 28"/>
                  <a:gd name="T1" fmla="*/ 0 h 28"/>
                  <a:gd name="T2" fmla="*/ 28 w 28"/>
                  <a:gd name="T3" fmla="*/ 0 h 28"/>
                  <a:gd name="T4" fmla="*/ 28 w 28"/>
                  <a:gd name="T5" fmla="*/ 28 h 28"/>
                  <a:gd name="T6" fmla="*/ 0 w 28"/>
                  <a:gd name="T7" fmla="*/ 28 h 28"/>
                  <a:gd name="T8" fmla="*/ 0 w 28"/>
                  <a:gd name="T9" fmla="*/ 0 h 28"/>
                  <a:gd name="T10" fmla="*/ 0 w 28"/>
                  <a:gd name="T11" fmla="*/ 0 h 28"/>
                </a:gdLst>
                <a:ahLst/>
                <a:cxnLst>
                  <a:cxn ang="0">
                    <a:pos x="T0" y="T1"/>
                  </a:cxn>
                  <a:cxn ang="0">
                    <a:pos x="T2" y="T3"/>
                  </a:cxn>
                  <a:cxn ang="0">
                    <a:pos x="T4" y="T5"/>
                  </a:cxn>
                  <a:cxn ang="0">
                    <a:pos x="T6" y="T7"/>
                  </a:cxn>
                  <a:cxn ang="0">
                    <a:pos x="T8" y="T9"/>
                  </a:cxn>
                  <a:cxn ang="0">
                    <a:pos x="T10" y="T11"/>
                  </a:cxn>
                </a:cxnLst>
                <a:rect l="0" t="0" r="r" b="b"/>
                <a:pathLst>
                  <a:path w="28" h="28">
                    <a:moveTo>
                      <a:pt x="0" y="0"/>
                    </a:moveTo>
                    <a:lnTo>
                      <a:pt x="28" y="0"/>
                    </a:lnTo>
                    <a:lnTo>
                      <a:pt x="28"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6" name="Freeform 87">
                <a:extLst>
                  <a:ext uri="{FF2B5EF4-FFF2-40B4-BE49-F238E27FC236}">
                    <a16:creationId xmlns:a16="http://schemas.microsoft.com/office/drawing/2014/main" id="{8D3898C9-4D11-5F4A-0EAB-157A3550D9D2}"/>
                  </a:ext>
                </a:extLst>
              </p:cNvPr>
              <p:cNvSpPr>
                <a:spLocks/>
              </p:cNvSpPr>
              <p:nvPr/>
            </p:nvSpPr>
            <p:spPr bwMode="auto">
              <a:xfrm>
                <a:off x="2220913" y="4702176"/>
                <a:ext cx="47625" cy="44450"/>
              </a:xfrm>
              <a:custGeom>
                <a:avLst/>
                <a:gdLst>
                  <a:gd name="T0" fmla="*/ 0 w 30"/>
                  <a:gd name="T1" fmla="*/ 0 h 28"/>
                  <a:gd name="T2" fmla="*/ 30 w 30"/>
                  <a:gd name="T3" fmla="*/ 0 h 28"/>
                  <a:gd name="T4" fmla="*/ 30 w 30"/>
                  <a:gd name="T5" fmla="*/ 28 h 28"/>
                  <a:gd name="T6" fmla="*/ 0 w 30"/>
                  <a:gd name="T7" fmla="*/ 28 h 28"/>
                  <a:gd name="T8" fmla="*/ 0 w 30"/>
                  <a:gd name="T9" fmla="*/ 0 h 28"/>
                  <a:gd name="T10" fmla="*/ 0 w 30"/>
                  <a:gd name="T11" fmla="*/ 0 h 28"/>
                </a:gdLst>
                <a:ahLst/>
                <a:cxnLst>
                  <a:cxn ang="0">
                    <a:pos x="T0" y="T1"/>
                  </a:cxn>
                  <a:cxn ang="0">
                    <a:pos x="T2" y="T3"/>
                  </a:cxn>
                  <a:cxn ang="0">
                    <a:pos x="T4" y="T5"/>
                  </a:cxn>
                  <a:cxn ang="0">
                    <a:pos x="T6" y="T7"/>
                  </a:cxn>
                  <a:cxn ang="0">
                    <a:pos x="T8" y="T9"/>
                  </a:cxn>
                  <a:cxn ang="0">
                    <a:pos x="T10" y="T11"/>
                  </a:cxn>
                </a:cxnLst>
                <a:rect l="0" t="0" r="r" b="b"/>
                <a:pathLst>
                  <a:path w="30" h="28">
                    <a:moveTo>
                      <a:pt x="0" y="0"/>
                    </a:moveTo>
                    <a:lnTo>
                      <a:pt x="30" y="0"/>
                    </a:lnTo>
                    <a:lnTo>
                      <a:pt x="30" y="28"/>
                    </a:lnTo>
                    <a:lnTo>
                      <a:pt x="0" y="28"/>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28" name="Group 27">
            <a:extLst>
              <a:ext uri="{FF2B5EF4-FFF2-40B4-BE49-F238E27FC236}">
                <a16:creationId xmlns:a16="http://schemas.microsoft.com/office/drawing/2014/main" id="{8344E5EC-8CCF-A769-1244-E07DE8D7C4F0}"/>
              </a:ext>
              <a:ext uri="{C183D7F6-B498-43B3-948B-1728B52AA6E4}">
                <adec:decorative xmlns:adec="http://schemas.microsoft.com/office/drawing/2017/decorative" val="1"/>
              </a:ext>
            </a:extLst>
          </p:cNvPr>
          <p:cNvGrpSpPr/>
          <p:nvPr/>
        </p:nvGrpSpPr>
        <p:grpSpPr>
          <a:xfrm>
            <a:off x="4558330" y="2789971"/>
            <a:ext cx="442209" cy="442209"/>
            <a:chOff x="6936617" y="2699372"/>
            <a:chExt cx="442209" cy="442209"/>
          </a:xfrm>
        </p:grpSpPr>
        <p:sp>
          <p:nvSpPr>
            <p:cNvPr id="14" name="Oval 13">
              <a:extLst>
                <a:ext uri="{FF2B5EF4-FFF2-40B4-BE49-F238E27FC236}">
                  <a16:creationId xmlns:a16="http://schemas.microsoft.com/office/drawing/2014/main" id="{B97BDF1D-C8FD-11A8-9A3D-A67237ED4640}"/>
                </a:ext>
              </a:extLst>
            </p:cNvPr>
            <p:cNvSpPr/>
            <p:nvPr/>
          </p:nvSpPr>
          <p:spPr>
            <a:xfrm>
              <a:off x="6936617" y="2699372"/>
              <a:ext cx="442209" cy="442209"/>
            </a:xfrm>
            <a:prstGeom prst="ellipse">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89" name="Group 88">
              <a:extLst>
                <a:ext uri="{FF2B5EF4-FFF2-40B4-BE49-F238E27FC236}">
                  <a16:creationId xmlns:a16="http://schemas.microsoft.com/office/drawing/2014/main" id="{D542CAB8-29A2-7093-C3B7-8E4317ECB7A6}"/>
                </a:ext>
              </a:extLst>
            </p:cNvPr>
            <p:cNvGrpSpPr>
              <a:grpSpLocks noChangeAspect="1"/>
            </p:cNvGrpSpPr>
            <p:nvPr/>
          </p:nvGrpSpPr>
          <p:grpSpPr>
            <a:xfrm>
              <a:off x="7045173" y="2804732"/>
              <a:ext cx="225093" cy="204032"/>
              <a:chOff x="7219950" y="2230438"/>
              <a:chExt cx="542925" cy="492125"/>
            </a:xfrm>
            <a:solidFill>
              <a:srgbClr val="FFFFFF"/>
            </a:solidFill>
          </p:grpSpPr>
          <p:sp>
            <p:nvSpPr>
              <p:cNvPr id="90" name="Freeform 50">
                <a:extLst>
                  <a:ext uri="{FF2B5EF4-FFF2-40B4-BE49-F238E27FC236}">
                    <a16:creationId xmlns:a16="http://schemas.microsoft.com/office/drawing/2014/main" id="{BE9BB99E-00DE-7E0C-DEF1-06587945D8C0}"/>
                  </a:ext>
                </a:extLst>
              </p:cNvPr>
              <p:cNvSpPr>
                <a:spLocks/>
              </p:cNvSpPr>
              <p:nvPr/>
            </p:nvSpPr>
            <p:spPr bwMode="auto">
              <a:xfrm>
                <a:off x="7408863" y="2230438"/>
                <a:ext cx="169863" cy="293688"/>
              </a:xfrm>
              <a:custGeom>
                <a:avLst/>
                <a:gdLst>
                  <a:gd name="T0" fmla="*/ 3 w 53"/>
                  <a:gd name="T1" fmla="*/ 62 h 92"/>
                  <a:gd name="T2" fmla="*/ 0 w 53"/>
                  <a:gd name="T3" fmla="*/ 65 h 92"/>
                  <a:gd name="T4" fmla="*/ 1 w 53"/>
                  <a:gd name="T5" fmla="*/ 68 h 92"/>
                  <a:gd name="T6" fmla="*/ 24 w 53"/>
                  <a:gd name="T7" fmla="*/ 91 h 92"/>
                  <a:gd name="T8" fmla="*/ 29 w 53"/>
                  <a:gd name="T9" fmla="*/ 91 h 92"/>
                  <a:gd name="T10" fmla="*/ 52 w 53"/>
                  <a:gd name="T11" fmla="*/ 68 h 92"/>
                  <a:gd name="T12" fmla="*/ 53 w 53"/>
                  <a:gd name="T13" fmla="*/ 65 h 92"/>
                  <a:gd name="T14" fmla="*/ 50 w 53"/>
                  <a:gd name="T15" fmla="*/ 62 h 92"/>
                  <a:gd name="T16" fmla="*/ 47 w 53"/>
                  <a:gd name="T17" fmla="*/ 63 h 92"/>
                  <a:gd name="T18" fmla="*/ 30 w 53"/>
                  <a:gd name="T19" fmla="*/ 80 h 92"/>
                  <a:gd name="T20" fmla="*/ 30 w 53"/>
                  <a:gd name="T21" fmla="*/ 3 h 92"/>
                  <a:gd name="T22" fmla="*/ 26 w 53"/>
                  <a:gd name="T23" fmla="*/ 0 h 92"/>
                  <a:gd name="T24" fmla="*/ 23 w 53"/>
                  <a:gd name="T25" fmla="*/ 3 h 92"/>
                  <a:gd name="T26" fmla="*/ 23 w 53"/>
                  <a:gd name="T27" fmla="*/ 80 h 92"/>
                  <a:gd name="T28" fmla="*/ 6 w 53"/>
                  <a:gd name="T29" fmla="*/ 63 h 92"/>
                  <a:gd name="T30" fmla="*/ 3 w 53"/>
                  <a:gd name="T31" fmla="*/ 6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92">
                    <a:moveTo>
                      <a:pt x="3" y="62"/>
                    </a:moveTo>
                    <a:cubicBezTo>
                      <a:pt x="1" y="62"/>
                      <a:pt x="0" y="63"/>
                      <a:pt x="0" y="65"/>
                    </a:cubicBezTo>
                    <a:cubicBezTo>
                      <a:pt x="0" y="66"/>
                      <a:pt x="0" y="67"/>
                      <a:pt x="1" y="68"/>
                    </a:cubicBezTo>
                    <a:cubicBezTo>
                      <a:pt x="24" y="91"/>
                      <a:pt x="24" y="91"/>
                      <a:pt x="24" y="91"/>
                    </a:cubicBezTo>
                    <a:cubicBezTo>
                      <a:pt x="25" y="92"/>
                      <a:pt x="28" y="92"/>
                      <a:pt x="29" y="91"/>
                    </a:cubicBezTo>
                    <a:cubicBezTo>
                      <a:pt x="52" y="68"/>
                      <a:pt x="52" y="68"/>
                      <a:pt x="52" y="68"/>
                    </a:cubicBezTo>
                    <a:cubicBezTo>
                      <a:pt x="53" y="67"/>
                      <a:pt x="53" y="66"/>
                      <a:pt x="53" y="65"/>
                    </a:cubicBezTo>
                    <a:cubicBezTo>
                      <a:pt x="53" y="63"/>
                      <a:pt x="51" y="62"/>
                      <a:pt x="50" y="62"/>
                    </a:cubicBezTo>
                    <a:cubicBezTo>
                      <a:pt x="49" y="62"/>
                      <a:pt x="48" y="62"/>
                      <a:pt x="47" y="63"/>
                    </a:cubicBezTo>
                    <a:cubicBezTo>
                      <a:pt x="30" y="80"/>
                      <a:pt x="30" y="80"/>
                      <a:pt x="30" y="80"/>
                    </a:cubicBezTo>
                    <a:cubicBezTo>
                      <a:pt x="30" y="3"/>
                      <a:pt x="30" y="3"/>
                      <a:pt x="30" y="3"/>
                    </a:cubicBezTo>
                    <a:cubicBezTo>
                      <a:pt x="30" y="2"/>
                      <a:pt x="28" y="0"/>
                      <a:pt x="26" y="0"/>
                    </a:cubicBezTo>
                    <a:cubicBezTo>
                      <a:pt x="25" y="0"/>
                      <a:pt x="23" y="2"/>
                      <a:pt x="23" y="3"/>
                    </a:cubicBezTo>
                    <a:cubicBezTo>
                      <a:pt x="23" y="80"/>
                      <a:pt x="23" y="80"/>
                      <a:pt x="23" y="80"/>
                    </a:cubicBezTo>
                    <a:cubicBezTo>
                      <a:pt x="6" y="63"/>
                      <a:pt x="6" y="63"/>
                      <a:pt x="6" y="63"/>
                    </a:cubicBezTo>
                    <a:cubicBezTo>
                      <a:pt x="5" y="62"/>
                      <a:pt x="4" y="62"/>
                      <a:pt x="3"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1" name="Freeform 51">
                <a:extLst>
                  <a:ext uri="{FF2B5EF4-FFF2-40B4-BE49-F238E27FC236}">
                    <a16:creationId xmlns:a16="http://schemas.microsoft.com/office/drawing/2014/main" id="{311CE724-E894-1DD9-6BBC-7D455A7920B2}"/>
                  </a:ext>
                </a:extLst>
              </p:cNvPr>
              <p:cNvSpPr>
                <a:spLocks noEditPoints="1"/>
              </p:cNvSpPr>
              <p:nvPr/>
            </p:nvSpPr>
            <p:spPr bwMode="auto">
              <a:xfrm>
                <a:off x="7219950" y="2281238"/>
                <a:ext cx="542925" cy="441325"/>
              </a:xfrm>
              <a:custGeom>
                <a:avLst/>
                <a:gdLst>
                  <a:gd name="T0" fmla="*/ 169 w 170"/>
                  <a:gd name="T1" fmla="*/ 79 h 138"/>
                  <a:gd name="T2" fmla="*/ 169 w 170"/>
                  <a:gd name="T3" fmla="*/ 78 h 138"/>
                  <a:gd name="T4" fmla="*/ 169 w 170"/>
                  <a:gd name="T5" fmla="*/ 78 h 138"/>
                  <a:gd name="T6" fmla="*/ 131 w 170"/>
                  <a:gd name="T7" fmla="*/ 1 h 138"/>
                  <a:gd name="T8" fmla="*/ 128 w 170"/>
                  <a:gd name="T9" fmla="*/ 0 h 138"/>
                  <a:gd name="T10" fmla="*/ 101 w 170"/>
                  <a:gd name="T11" fmla="*/ 0 h 138"/>
                  <a:gd name="T12" fmla="*/ 98 w 170"/>
                  <a:gd name="T13" fmla="*/ 3 h 138"/>
                  <a:gd name="T14" fmla="*/ 101 w 170"/>
                  <a:gd name="T15" fmla="*/ 6 h 138"/>
                  <a:gd name="T16" fmla="*/ 126 w 170"/>
                  <a:gd name="T17" fmla="*/ 6 h 138"/>
                  <a:gd name="T18" fmla="*/ 126 w 170"/>
                  <a:gd name="T19" fmla="*/ 6 h 138"/>
                  <a:gd name="T20" fmla="*/ 161 w 170"/>
                  <a:gd name="T21" fmla="*/ 77 h 138"/>
                  <a:gd name="T22" fmla="*/ 112 w 170"/>
                  <a:gd name="T23" fmla="*/ 77 h 138"/>
                  <a:gd name="T24" fmla="*/ 109 w 170"/>
                  <a:gd name="T25" fmla="*/ 80 h 138"/>
                  <a:gd name="T26" fmla="*/ 85 w 170"/>
                  <a:gd name="T27" fmla="*/ 105 h 138"/>
                  <a:gd name="T28" fmla="*/ 62 w 170"/>
                  <a:gd name="T29" fmla="*/ 80 h 138"/>
                  <a:gd name="T30" fmla="*/ 58 w 170"/>
                  <a:gd name="T31" fmla="*/ 77 h 138"/>
                  <a:gd name="T32" fmla="*/ 9 w 170"/>
                  <a:gd name="T33" fmla="*/ 77 h 138"/>
                  <a:gd name="T34" fmla="*/ 9 w 170"/>
                  <a:gd name="T35" fmla="*/ 76 h 138"/>
                  <a:gd name="T36" fmla="*/ 45 w 170"/>
                  <a:gd name="T37" fmla="*/ 6 h 138"/>
                  <a:gd name="T38" fmla="*/ 70 w 170"/>
                  <a:gd name="T39" fmla="*/ 6 h 138"/>
                  <a:gd name="T40" fmla="*/ 73 w 170"/>
                  <a:gd name="T41" fmla="*/ 3 h 138"/>
                  <a:gd name="T42" fmla="*/ 70 w 170"/>
                  <a:gd name="T43" fmla="*/ 0 h 138"/>
                  <a:gd name="T44" fmla="*/ 43 w 170"/>
                  <a:gd name="T45" fmla="*/ 0 h 138"/>
                  <a:gd name="T46" fmla="*/ 40 w 170"/>
                  <a:gd name="T47" fmla="*/ 1 h 138"/>
                  <a:gd name="T48" fmla="*/ 40 w 170"/>
                  <a:gd name="T49" fmla="*/ 2 h 138"/>
                  <a:gd name="T50" fmla="*/ 40 w 170"/>
                  <a:gd name="T51" fmla="*/ 2 h 138"/>
                  <a:gd name="T52" fmla="*/ 1 w 170"/>
                  <a:gd name="T53" fmla="*/ 78 h 138"/>
                  <a:gd name="T54" fmla="*/ 1 w 170"/>
                  <a:gd name="T55" fmla="*/ 78 h 138"/>
                  <a:gd name="T56" fmla="*/ 0 w 170"/>
                  <a:gd name="T57" fmla="*/ 79 h 138"/>
                  <a:gd name="T58" fmla="*/ 0 w 170"/>
                  <a:gd name="T59" fmla="*/ 80 h 138"/>
                  <a:gd name="T60" fmla="*/ 0 w 170"/>
                  <a:gd name="T61" fmla="*/ 135 h 138"/>
                  <a:gd name="T62" fmla="*/ 3 w 170"/>
                  <a:gd name="T63" fmla="*/ 138 h 138"/>
                  <a:gd name="T64" fmla="*/ 167 w 170"/>
                  <a:gd name="T65" fmla="*/ 138 h 138"/>
                  <a:gd name="T66" fmla="*/ 170 w 170"/>
                  <a:gd name="T67" fmla="*/ 135 h 138"/>
                  <a:gd name="T68" fmla="*/ 170 w 170"/>
                  <a:gd name="T69" fmla="*/ 80 h 138"/>
                  <a:gd name="T70" fmla="*/ 169 w 170"/>
                  <a:gd name="T71" fmla="*/ 79 h 138"/>
                  <a:gd name="T72" fmla="*/ 163 w 170"/>
                  <a:gd name="T73" fmla="*/ 132 h 138"/>
                  <a:gd name="T74" fmla="*/ 7 w 170"/>
                  <a:gd name="T75" fmla="*/ 132 h 138"/>
                  <a:gd name="T76" fmla="*/ 7 w 170"/>
                  <a:gd name="T77" fmla="*/ 83 h 138"/>
                  <a:gd name="T78" fmla="*/ 55 w 170"/>
                  <a:gd name="T79" fmla="*/ 83 h 138"/>
                  <a:gd name="T80" fmla="*/ 55 w 170"/>
                  <a:gd name="T81" fmla="*/ 84 h 138"/>
                  <a:gd name="T82" fmla="*/ 85 w 170"/>
                  <a:gd name="T83" fmla="*/ 111 h 138"/>
                  <a:gd name="T84" fmla="*/ 116 w 170"/>
                  <a:gd name="T85" fmla="*/ 84 h 138"/>
                  <a:gd name="T86" fmla="*/ 116 w 170"/>
                  <a:gd name="T87" fmla="*/ 83 h 138"/>
                  <a:gd name="T88" fmla="*/ 163 w 170"/>
                  <a:gd name="T89" fmla="*/ 83 h 138"/>
                  <a:gd name="T90" fmla="*/ 163 w 170"/>
                  <a:gd name="T91" fmla="*/ 132 h 138"/>
                  <a:gd name="T92" fmla="*/ 163 w 170"/>
                  <a:gd name="T93" fmla="*/ 13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0" h="138">
                    <a:moveTo>
                      <a:pt x="169" y="79"/>
                    </a:moveTo>
                    <a:cubicBezTo>
                      <a:pt x="169" y="78"/>
                      <a:pt x="169" y="78"/>
                      <a:pt x="169" y="78"/>
                    </a:cubicBezTo>
                    <a:cubicBezTo>
                      <a:pt x="169" y="78"/>
                      <a:pt x="169" y="78"/>
                      <a:pt x="169" y="78"/>
                    </a:cubicBezTo>
                    <a:cubicBezTo>
                      <a:pt x="131" y="1"/>
                      <a:pt x="131" y="1"/>
                      <a:pt x="131" y="1"/>
                    </a:cubicBezTo>
                    <a:cubicBezTo>
                      <a:pt x="130" y="0"/>
                      <a:pt x="129" y="0"/>
                      <a:pt x="128" y="0"/>
                    </a:cubicBezTo>
                    <a:cubicBezTo>
                      <a:pt x="101" y="0"/>
                      <a:pt x="101" y="0"/>
                      <a:pt x="101" y="0"/>
                    </a:cubicBezTo>
                    <a:cubicBezTo>
                      <a:pt x="99" y="0"/>
                      <a:pt x="98" y="1"/>
                      <a:pt x="98" y="3"/>
                    </a:cubicBezTo>
                    <a:cubicBezTo>
                      <a:pt x="98" y="5"/>
                      <a:pt x="99" y="6"/>
                      <a:pt x="101" y="6"/>
                    </a:cubicBezTo>
                    <a:cubicBezTo>
                      <a:pt x="126" y="6"/>
                      <a:pt x="126" y="6"/>
                      <a:pt x="126" y="6"/>
                    </a:cubicBezTo>
                    <a:cubicBezTo>
                      <a:pt x="126" y="6"/>
                      <a:pt x="126" y="6"/>
                      <a:pt x="126" y="6"/>
                    </a:cubicBezTo>
                    <a:cubicBezTo>
                      <a:pt x="161" y="77"/>
                      <a:pt x="161" y="77"/>
                      <a:pt x="161" y="77"/>
                    </a:cubicBezTo>
                    <a:cubicBezTo>
                      <a:pt x="112" y="77"/>
                      <a:pt x="112" y="77"/>
                      <a:pt x="112" y="77"/>
                    </a:cubicBezTo>
                    <a:cubicBezTo>
                      <a:pt x="111" y="77"/>
                      <a:pt x="109" y="78"/>
                      <a:pt x="109" y="80"/>
                    </a:cubicBezTo>
                    <a:cubicBezTo>
                      <a:pt x="109" y="93"/>
                      <a:pt x="99" y="105"/>
                      <a:pt x="85" y="105"/>
                    </a:cubicBezTo>
                    <a:cubicBezTo>
                      <a:pt x="72" y="105"/>
                      <a:pt x="62" y="93"/>
                      <a:pt x="62" y="80"/>
                    </a:cubicBezTo>
                    <a:cubicBezTo>
                      <a:pt x="62" y="78"/>
                      <a:pt x="60" y="77"/>
                      <a:pt x="58" y="77"/>
                    </a:cubicBezTo>
                    <a:cubicBezTo>
                      <a:pt x="9" y="77"/>
                      <a:pt x="9" y="77"/>
                      <a:pt x="9" y="77"/>
                    </a:cubicBezTo>
                    <a:cubicBezTo>
                      <a:pt x="9" y="76"/>
                      <a:pt x="9" y="76"/>
                      <a:pt x="9" y="76"/>
                    </a:cubicBezTo>
                    <a:cubicBezTo>
                      <a:pt x="45" y="6"/>
                      <a:pt x="45" y="6"/>
                      <a:pt x="45" y="6"/>
                    </a:cubicBezTo>
                    <a:cubicBezTo>
                      <a:pt x="70" y="6"/>
                      <a:pt x="70" y="6"/>
                      <a:pt x="70" y="6"/>
                    </a:cubicBezTo>
                    <a:cubicBezTo>
                      <a:pt x="72" y="6"/>
                      <a:pt x="73" y="5"/>
                      <a:pt x="73" y="3"/>
                    </a:cubicBezTo>
                    <a:cubicBezTo>
                      <a:pt x="73" y="1"/>
                      <a:pt x="72" y="0"/>
                      <a:pt x="70" y="0"/>
                    </a:cubicBezTo>
                    <a:cubicBezTo>
                      <a:pt x="43" y="0"/>
                      <a:pt x="43" y="0"/>
                      <a:pt x="43" y="0"/>
                    </a:cubicBezTo>
                    <a:cubicBezTo>
                      <a:pt x="42" y="0"/>
                      <a:pt x="41" y="0"/>
                      <a:pt x="40" y="1"/>
                    </a:cubicBezTo>
                    <a:cubicBezTo>
                      <a:pt x="40" y="2"/>
                      <a:pt x="40" y="2"/>
                      <a:pt x="40" y="2"/>
                    </a:cubicBezTo>
                    <a:cubicBezTo>
                      <a:pt x="40" y="2"/>
                      <a:pt x="40" y="2"/>
                      <a:pt x="40" y="2"/>
                    </a:cubicBezTo>
                    <a:cubicBezTo>
                      <a:pt x="1" y="78"/>
                      <a:pt x="1" y="78"/>
                      <a:pt x="1" y="78"/>
                    </a:cubicBezTo>
                    <a:cubicBezTo>
                      <a:pt x="1" y="78"/>
                      <a:pt x="1" y="78"/>
                      <a:pt x="1" y="78"/>
                    </a:cubicBezTo>
                    <a:cubicBezTo>
                      <a:pt x="0" y="79"/>
                      <a:pt x="0" y="79"/>
                      <a:pt x="0" y="79"/>
                    </a:cubicBezTo>
                    <a:cubicBezTo>
                      <a:pt x="0" y="80"/>
                      <a:pt x="0" y="80"/>
                      <a:pt x="0" y="80"/>
                    </a:cubicBezTo>
                    <a:cubicBezTo>
                      <a:pt x="0" y="135"/>
                      <a:pt x="0" y="135"/>
                      <a:pt x="0" y="135"/>
                    </a:cubicBezTo>
                    <a:cubicBezTo>
                      <a:pt x="0" y="137"/>
                      <a:pt x="1" y="138"/>
                      <a:pt x="3" y="138"/>
                    </a:cubicBezTo>
                    <a:cubicBezTo>
                      <a:pt x="167" y="138"/>
                      <a:pt x="167" y="138"/>
                      <a:pt x="167" y="138"/>
                    </a:cubicBezTo>
                    <a:cubicBezTo>
                      <a:pt x="168" y="138"/>
                      <a:pt x="170" y="137"/>
                      <a:pt x="170" y="135"/>
                    </a:cubicBezTo>
                    <a:cubicBezTo>
                      <a:pt x="170" y="80"/>
                      <a:pt x="170" y="80"/>
                      <a:pt x="170" y="80"/>
                    </a:cubicBezTo>
                    <a:cubicBezTo>
                      <a:pt x="170" y="80"/>
                      <a:pt x="170" y="79"/>
                      <a:pt x="169" y="79"/>
                    </a:cubicBezTo>
                    <a:close/>
                    <a:moveTo>
                      <a:pt x="163" y="132"/>
                    </a:moveTo>
                    <a:cubicBezTo>
                      <a:pt x="7" y="132"/>
                      <a:pt x="7" y="132"/>
                      <a:pt x="7" y="132"/>
                    </a:cubicBezTo>
                    <a:cubicBezTo>
                      <a:pt x="7" y="83"/>
                      <a:pt x="7" y="83"/>
                      <a:pt x="7" y="83"/>
                    </a:cubicBezTo>
                    <a:cubicBezTo>
                      <a:pt x="55" y="83"/>
                      <a:pt x="55" y="83"/>
                      <a:pt x="55" y="83"/>
                    </a:cubicBezTo>
                    <a:cubicBezTo>
                      <a:pt x="55" y="84"/>
                      <a:pt x="55" y="84"/>
                      <a:pt x="55" y="84"/>
                    </a:cubicBezTo>
                    <a:cubicBezTo>
                      <a:pt x="57" y="100"/>
                      <a:pt x="70" y="111"/>
                      <a:pt x="85" y="111"/>
                    </a:cubicBezTo>
                    <a:cubicBezTo>
                      <a:pt x="101" y="111"/>
                      <a:pt x="114" y="100"/>
                      <a:pt x="116" y="84"/>
                    </a:cubicBezTo>
                    <a:cubicBezTo>
                      <a:pt x="116" y="83"/>
                      <a:pt x="116" y="83"/>
                      <a:pt x="116" y="83"/>
                    </a:cubicBezTo>
                    <a:cubicBezTo>
                      <a:pt x="163" y="83"/>
                      <a:pt x="163" y="83"/>
                      <a:pt x="163" y="83"/>
                    </a:cubicBezTo>
                    <a:cubicBezTo>
                      <a:pt x="163" y="132"/>
                      <a:pt x="163" y="132"/>
                      <a:pt x="163" y="132"/>
                    </a:cubicBezTo>
                    <a:cubicBezTo>
                      <a:pt x="163" y="132"/>
                      <a:pt x="163" y="132"/>
                      <a:pt x="16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27" name="Group 26">
            <a:extLst>
              <a:ext uri="{FF2B5EF4-FFF2-40B4-BE49-F238E27FC236}">
                <a16:creationId xmlns:a16="http://schemas.microsoft.com/office/drawing/2014/main" id="{D052E8FA-7679-23E4-B2ED-FC6EBA209B39}"/>
              </a:ext>
              <a:ext uri="{C183D7F6-B498-43B3-948B-1728B52AA6E4}">
                <adec:decorative xmlns:adec="http://schemas.microsoft.com/office/drawing/2017/decorative" val="1"/>
              </a:ext>
            </a:extLst>
          </p:cNvPr>
          <p:cNvGrpSpPr/>
          <p:nvPr/>
        </p:nvGrpSpPr>
        <p:grpSpPr>
          <a:xfrm>
            <a:off x="5739666" y="2789971"/>
            <a:ext cx="442209" cy="442209"/>
            <a:chOff x="8717453" y="2699372"/>
            <a:chExt cx="442209" cy="442209"/>
          </a:xfrm>
        </p:grpSpPr>
        <p:sp>
          <p:nvSpPr>
            <p:cNvPr id="15" name="Oval 14">
              <a:extLst>
                <a:ext uri="{FF2B5EF4-FFF2-40B4-BE49-F238E27FC236}">
                  <a16:creationId xmlns:a16="http://schemas.microsoft.com/office/drawing/2014/main" id="{6EB71606-1AC6-E2B5-0C28-D7D38BE34597}"/>
                </a:ext>
              </a:extLst>
            </p:cNvPr>
            <p:cNvSpPr/>
            <p:nvPr/>
          </p:nvSpPr>
          <p:spPr>
            <a:xfrm>
              <a:off x="8717453" y="2699372"/>
              <a:ext cx="442209" cy="442209"/>
            </a:xfrm>
            <a:prstGeom prst="ellipse">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95" name="Graphic 94">
              <a:extLst>
                <a:ext uri="{FF2B5EF4-FFF2-40B4-BE49-F238E27FC236}">
                  <a16:creationId xmlns:a16="http://schemas.microsoft.com/office/drawing/2014/main" id="{937CADB3-6905-56E8-9856-7254428708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22295" y="2816873"/>
              <a:ext cx="232525" cy="210379"/>
            </a:xfrm>
            <a:prstGeom prst="rect">
              <a:avLst/>
            </a:prstGeom>
          </p:spPr>
        </p:pic>
      </p:grpSp>
      <p:grpSp>
        <p:nvGrpSpPr>
          <p:cNvPr id="18" name="Group 17">
            <a:extLst>
              <a:ext uri="{FF2B5EF4-FFF2-40B4-BE49-F238E27FC236}">
                <a16:creationId xmlns:a16="http://schemas.microsoft.com/office/drawing/2014/main" id="{7ECA2E61-750A-D68E-AE0C-DCE8EC248D49}"/>
              </a:ext>
              <a:ext uri="{C183D7F6-B498-43B3-948B-1728B52AA6E4}">
                <adec:decorative xmlns:adec="http://schemas.microsoft.com/office/drawing/2017/decorative" val="1"/>
              </a:ext>
            </a:extLst>
          </p:cNvPr>
          <p:cNvGrpSpPr/>
          <p:nvPr/>
        </p:nvGrpSpPr>
        <p:grpSpPr>
          <a:xfrm>
            <a:off x="495126" y="3748155"/>
            <a:ext cx="442209" cy="442209"/>
            <a:chOff x="771310" y="4263084"/>
            <a:chExt cx="442209" cy="442209"/>
          </a:xfrm>
        </p:grpSpPr>
        <p:sp>
          <p:nvSpPr>
            <p:cNvPr id="6" name="Oval 5">
              <a:extLst>
                <a:ext uri="{FF2B5EF4-FFF2-40B4-BE49-F238E27FC236}">
                  <a16:creationId xmlns:a16="http://schemas.microsoft.com/office/drawing/2014/main" id="{0B3B4391-0064-BFB8-4C37-43387CE60320}"/>
                </a:ext>
              </a:extLst>
            </p:cNvPr>
            <p:cNvSpPr/>
            <p:nvPr/>
          </p:nvSpPr>
          <p:spPr>
            <a:xfrm>
              <a:off x="771310" y="4263084"/>
              <a:ext cx="442209" cy="442209"/>
            </a:xfrm>
            <a:prstGeom prst="ellipse">
              <a:avLst/>
            </a:prstGeom>
            <a:solidFill>
              <a:schemeClr val="accent6"/>
            </a:solidFill>
            <a:ln w="349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98" name="Group 97">
              <a:extLst>
                <a:ext uri="{FF2B5EF4-FFF2-40B4-BE49-F238E27FC236}">
                  <a16:creationId xmlns:a16="http://schemas.microsoft.com/office/drawing/2014/main" id="{CBA3FA53-7B5E-C6F1-40B1-978CE2BACDB8}"/>
                </a:ext>
              </a:extLst>
            </p:cNvPr>
            <p:cNvGrpSpPr>
              <a:grpSpLocks noChangeAspect="1"/>
            </p:cNvGrpSpPr>
            <p:nvPr/>
          </p:nvGrpSpPr>
          <p:grpSpPr>
            <a:xfrm>
              <a:off x="917817" y="4378681"/>
              <a:ext cx="183058" cy="205940"/>
              <a:chOff x="8366125" y="1125538"/>
              <a:chExt cx="482601" cy="542926"/>
            </a:xfrm>
            <a:solidFill>
              <a:schemeClr val="bg1"/>
            </a:solidFill>
          </p:grpSpPr>
          <p:sp>
            <p:nvSpPr>
              <p:cNvPr id="99" name="Freeform 102">
                <a:extLst>
                  <a:ext uri="{FF2B5EF4-FFF2-40B4-BE49-F238E27FC236}">
                    <a16:creationId xmlns:a16="http://schemas.microsoft.com/office/drawing/2014/main" id="{F916C2E1-4F93-B400-FD1D-7508460A0E1E}"/>
                  </a:ext>
                </a:extLst>
              </p:cNvPr>
              <p:cNvSpPr>
                <a:spLocks/>
              </p:cNvSpPr>
              <p:nvPr/>
            </p:nvSpPr>
            <p:spPr bwMode="auto">
              <a:xfrm>
                <a:off x="8507413" y="1311276"/>
                <a:ext cx="114300" cy="22225"/>
              </a:xfrm>
              <a:custGeom>
                <a:avLst/>
                <a:gdLst>
                  <a:gd name="T0" fmla="*/ 33 w 36"/>
                  <a:gd name="T1" fmla="*/ 0 h 7"/>
                  <a:gd name="T2" fmla="*/ 3 w 36"/>
                  <a:gd name="T3" fmla="*/ 0 h 7"/>
                  <a:gd name="T4" fmla="*/ 0 w 36"/>
                  <a:gd name="T5" fmla="*/ 3 h 7"/>
                  <a:gd name="T6" fmla="*/ 3 w 36"/>
                  <a:gd name="T7" fmla="*/ 7 h 7"/>
                  <a:gd name="T8" fmla="*/ 33 w 36"/>
                  <a:gd name="T9" fmla="*/ 7 h 7"/>
                  <a:gd name="T10" fmla="*/ 36 w 36"/>
                  <a:gd name="T11" fmla="*/ 3 h 7"/>
                  <a:gd name="T12" fmla="*/ 33 w 36"/>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6" h="7">
                    <a:moveTo>
                      <a:pt x="33" y="0"/>
                    </a:moveTo>
                    <a:cubicBezTo>
                      <a:pt x="3" y="0"/>
                      <a:pt x="3" y="0"/>
                      <a:pt x="3" y="0"/>
                    </a:cubicBezTo>
                    <a:cubicBezTo>
                      <a:pt x="1" y="0"/>
                      <a:pt x="0" y="2"/>
                      <a:pt x="0" y="3"/>
                    </a:cubicBezTo>
                    <a:cubicBezTo>
                      <a:pt x="0" y="6"/>
                      <a:pt x="1" y="7"/>
                      <a:pt x="3" y="7"/>
                    </a:cubicBezTo>
                    <a:cubicBezTo>
                      <a:pt x="33" y="7"/>
                      <a:pt x="33" y="7"/>
                      <a:pt x="33" y="7"/>
                    </a:cubicBezTo>
                    <a:cubicBezTo>
                      <a:pt x="35" y="7"/>
                      <a:pt x="36" y="6"/>
                      <a:pt x="36" y="3"/>
                    </a:cubicBezTo>
                    <a:cubicBezTo>
                      <a:pt x="36" y="2"/>
                      <a:pt x="35"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0" name="Freeform 103">
                <a:extLst>
                  <a:ext uri="{FF2B5EF4-FFF2-40B4-BE49-F238E27FC236}">
                    <a16:creationId xmlns:a16="http://schemas.microsoft.com/office/drawing/2014/main" id="{04351FC8-B09E-4CBF-0291-C19F9B29E9A4}"/>
                  </a:ext>
                </a:extLst>
              </p:cNvPr>
              <p:cNvSpPr>
                <a:spLocks/>
              </p:cNvSpPr>
              <p:nvPr/>
            </p:nvSpPr>
            <p:spPr bwMode="auto">
              <a:xfrm>
                <a:off x="8507413" y="1374776"/>
                <a:ext cx="114300" cy="19050"/>
              </a:xfrm>
              <a:custGeom>
                <a:avLst/>
                <a:gdLst>
                  <a:gd name="T0" fmla="*/ 33 w 36"/>
                  <a:gd name="T1" fmla="*/ 0 h 6"/>
                  <a:gd name="T2" fmla="*/ 3 w 36"/>
                  <a:gd name="T3" fmla="*/ 0 h 6"/>
                  <a:gd name="T4" fmla="*/ 0 w 36"/>
                  <a:gd name="T5" fmla="*/ 3 h 6"/>
                  <a:gd name="T6" fmla="*/ 3 w 36"/>
                  <a:gd name="T7" fmla="*/ 6 h 6"/>
                  <a:gd name="T8" fmla="*/ 33 w 36"/>
                  <a:gd name="T9" fmla="*/ 6 h 6"/>
                  <a:gd name="T10" fmla="*/ 36 w 36"/>
                  <a:gd name="T11" fmla="*/ 3 h 6"/>
                  <a:gd name="T12" fmla="*/ 33 w 3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36" h="6">
                    <a:moveTo>
                      <a:pt x="33" y="0"/>
                    </a:moveTo>
                    <a:cubicBezTo>
                      <a:pt x="3" y="0"/>
                      <a:pt x="3" y="0"/>
                      <a:pt x="3" y="0"/>
                    </a:cubicBezTo>
                    <a:cubicBezTo>
                      <a:pt x="1" y="0"/>
                      <a:pt x="0" y="1"/>
                      <a:pt x="0" y="3"/>
                    </a:cubicBezTo>
                    <a:cubicBezTo>
                      <a:pt x="0" y="4"/>
                      <a:pt x="1" y="6"/>
                      <a:pt x="3" y="6"/>
                    </a:cubicBezTo>
                    <a:cubicBezTo>
                      <a:pt x="33" y="6"/>
                      <a:pt x="33" y="6"/>
                      <a:pt x="33" y="6"/>
                    </a:cubicBezTo>
                    <a:cubicBezTo>
                      <a:pt x="35" y="6"/>
                      <a:pt x="36" y="4"/>
                      <a:pt x="36" y="3"/>
                    </a:cubicBezTo>
                    <a:cubicBezTo>
                      <a:pt x="36" y="1"/>
                      <a:pt x="35"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1" name="Freeform 104">
                <a:extLst>
                  <a:ext uri="{FF2B5EF4-FFF2-40B4-BE49-F238E27FC236}">
                    <a16:creationId xmlns:a16="http://schemas.microsoft.com/office/drawing/2014/main" id="{73C8D70C-14CC-749D-A2AD-EB1AC91ED97C}"/>
                  </a:ext>
                </a:extLst>
              </p:cNvPr>
              <p:cNvSpPr>
                <a:spLocks/>
              </p:cNvSpPr>
              <p:nvPr/>
            </p:nvSpPr>
            <p:spPr bwMode="auto">
              <a:xfrm>
                <a:off x="8507413" y="1431926"/>
                <a:ext cx="114300" cy="15875"/>
              </a:xfrm>
              <a:custGeom>
                <a:avLst/>
                <a:gdLst>
                  <a:gd name="T0" fmla="*/ 33 w 36"/>
                  <a:gd name="T1" fmla="*/ 0 h 5"/>
                  <a:gd name="T2" fmla="*/ 3 w 36"/>
                  <a:gd name="T3" fmla="*/ 0 h 5"/>
                  <a:gd name="T4" fmla="*/ 0 w 36"/>
                  <a:gd name="T5" fmla="*/ 3 h 5"/>
                  <a:gd name="T6" fmla="*/ 3 w 36"/>
                  <a:gd name="T7" fmla="*/ 5 h 5"/>
                  <a:gd name="T8" fmla="*/ 33 w 36"/>
                  <a:gd name="T9" fmla="*/ 5 h 5"/>
                  <a:gd name="T10" fmla="*/ 36 w 36"/>
                  <a:gd name="T11" fmla="*/ 3 h 5"/>
                  <a:gd name="T12" fmla="*/ 33 w 3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6" h="5">
                    <a:moveTo>
                      <a:pt x="33" y="0"/>
                    </a:moveTo>
                    <a:cubicBezTo>
                      <a:pt x="3" y="0"/>
                      <a:pt x="3" y="0"/>
                      <a:pt x="3" y="0"/>
                    </a:cubicBezTo>
                    <a:cubicBezTo>
                      <a:pt x="1" y="0"/>
                      <a:pt x="0" y="2"/>
                      <a:pt x="0" y="3"/>
                    </a:cubicBezTo>
                    <a:cubicBezTo>
                      <a:pt x="0" y="5"/>
                      <a:pt x="1" y="5"/>
                      <a:pt x="3" y="5"/>
                    </a:cubicBezTo>
                    <a:cubicBezTo>
                      <a:pt x="33" y="5"/>
                      <a:pt x="33" y="5"/>
                      <a:pt x="33" y="5"/>
                    </a:cubicBezTo>
                    <a:cubicBezTo>
                      <a:pt x="35" y="5"/>
                      <a:pt x="36" y="5"/>
                      <a:pt x="36" y="3"/>
                    </a:cubicBezTo>
                    <a:cubicBezTo>
                      <a:pt x="36" y="2"/>
                      <a:pt x="35" y="0"/>
                      <a:pt x="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2" name="Oval 105">
                <a:extLst>
                  <a:ext uri="{FF2B5EF4-FFF2-40B4-BE49-F238E27FC236}">
                    <a16:creationId xmlns:a16="http://schemas.microsoft.com/office/drawing/2014/main" id="{E6606F70-4897-943C-001A-34371A0A5873}"/>
                  </a:ext>
                </a:extLst>
              </p:cNvPr>
              <p:cNvSpPr>
                <a:spLocks noChangeArrowheads="1"/>
              </p:cNvSpPr>
              <p:nvPr/>
            </p:nvSpPr>
            <p:spPr bwMode="auto">
              <a:xfrm>
                <a:off x="8442325" y="1304926"/>
                <a:ext cx="34925" cy="349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3" name="Oval 106">
                <a:extLst>
                  <a:ext uri="{FF2B5EF4-FFF2-40B4-BE49-F238E27FC236}">
                    <a16:creationId xmlns:a16="http://schemas.microsoft.com/office/drawing/2014/main" id="{8BA2D70B-3EFA-42AC-373F-00B214F05627}"/>
                  </a:ext>
                </a:extLst>
              </p:cNvPr>
              <p:cNvSpPr>
                <a:spLocks noChangeArrowheads="1"/>
              </p:cNvSpPr>
              <p:nvPr/>
            </p:nvSpPr>
            <p:spPr bwMode="auto">
              <a:xfrm>
                <a:off x="8442325" y="1365251"/>
                <a:ext cx="34925" cy="349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4" name="Oval 107">
                <a:extLst>
                  <a:ext uri="{FF2B5EF4-FFF2-40B4-BE49-F238E27FC236}">
                    <a16:creationId xmlns:a16="http://schemas.microsoft.com/office/drawing/2014/main" id="{E0577012-381C-F586-2F50-239303A5D548}"/>
                  </a:ext>
                </a:extLst>
              </p:cNvPr>
              <p:cNvSpPr>
                <a:spLocks noChangeArrowheads="1"/>
              </p:cNvSpPr>
              <p:nvPr/>
            </p:nvSpPr>
            <p:spPr bwMode="auto">
              <a:xfrm>
                <a:off x="8442325" y="1425576"/>
                <a:ext cx="34925" cy="317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5" name="Freeform 108">
                <a:extLst>
                  <a:ext uri="{FF2B5EF4-FFF2-40B4-BE49-F238E27FC236}">
                    <a16:creationId xmlns:a16="http://schemas.microsoft.com/office/drawing/2014/main" id="{37F4BC4E-B489-8BE9-BD01-B3A1F0F67864}"/>
                  </a:ext>
                </a:extLst>
              </p:cNvPr>
              <p:cNvSpPr>
                <a:spLocks noEditPoints="1"/>
              </p:cNvSpPr>
              <p:nvPr/>
            </p:nvSpPr>
            <p:spPr bwMode="auto">
              <a:xfrm>
                <a:off x="8366125" y="1125538"/>
                <a:ext cx="347663" cy="482600"/>
              </a:xfrm>
              <a:custGeom>
                <a:avLst/>
                <a:gdLst>
                  <a:gd name="T0" fmla="*/ 72 w 109"/>
                  <a:gd name="T1" fmla="*/ 145 h 151"/>
                  <a:gd name="T2" fmla="*/ 15 w 109"/>
                  <a:gd name="T3" fmla="*/ 145 h 151"/>
                  <a:gd name="T4" fmla="*/ 7 w 109"/>
                  <a:gd name="T5" fmla="*/ 137 h 151"/>
                  <a:gd name="T6" fmla="*/ 7 w 109"/>
                  <a:gd name="T7" fmla="*/ 38 h 151"/>
                  <a:gd name="T8" fmla="*/ 15 w 109"/>
                  <a:gd name="T9" fmla="*/ 29 h 151"/>
                  <a:gd name="T10" fmla="*/ 25 w 109"/>
                  <a:gd name="T11" fmla="*/ 29 h 151"/>
                  <a:gd name="T12" fmla="*/ 25 w 109"/>
                  <a:gd name="T13" fmla="*/ 30 h 151"/>
                  <a:gd name="T14" fmla="*/ 32 w 109"/>
                  <a:gd name="T15" fmla="*/ 37 h 151"/>
                  <a:gd name="T16" fmla="*/ 78 w 109"/>
                  <a:gd name="T17" fmla="*/ 37 h 151"/>
                  <a:gd name="T18" fmla="*/ 85 w 109"/>
                  <a:gd name="T19" fmla="*/ 30 h 151"/>
                  <a:gd name="T20" fmla="*/ 85 w 109"/>
                  <a:gd name="T21" fmla="*/ 29 h 151"/>
                  <a:gd name="T22" fmla="*/ 94 w 109"/>
                  <a:gd name="T23" fmla="*/ 29 h 151"/>
                  <a:gd name="T24" fmla="*/ 102 w 109"/>
                  <a:gd name="T25" fmla="*/ 38 h 151"/>
                  <a:gd name="T26" fmla="*/ 102 w 109"/>
                  <a:gd name="T27" fmla="*/ 90 h 151"/>
                  <a:gd name="T28" fmla="*/ 109 w 109"/>
                  <a:gd name="T29" fmla="*/ 89 h 151"/>
                  <a:gd name="T30" fmla="*/ 109 w 109"/>
                  <a:gd name="T31" fmla="*/ 38 h 151"/>
                  <a:gd name="T32" fmla="*/ 94 w 109"/>
                  <a:gd name="T33" fmla="*/ 23 h 151"/>
                  <a:gd name="T34" fmla="*/ 85 w 109"/>
                  <a:gd name="T35" fmla="*/ 23 h 151"/>
                  <a:gd name="T36" fmla="*/ 85 w 109"/>
                  <a:gd name="T37" fmla="*/ 15 h 151"/>
                  <a:gd name="T38" fmla="*/ 78 w 109"/>
                  <a:gd name="T39" fmla="*/ 8 h 151"/>
                  <a:gd name="T40" fmla="*/ 62 w 109"/>
                  <a:gd name="T41" fmla="*/ 8 h 151"/>
                  <a:gd name="T42" fmla="*/ 62 w 109"/>
                  <a:gd name="T43" fmla="*/ 7 h 151"/>
                  <a:gd name="T44" fmla="*/ 55 w 109"/>
                  <a:gd name="T45" fmla="*/ 0 h 151"/>
                  <a:gd name="T46" fmla="*/ 48 w 109"/>
                  <a:gd name="T47" fmla="*/ 7 h 151"/>
                  <a:gd name="T48" fmla="*/ 48 w 109"/>
                  <a:gd name="T49" fmla="*/ 8 h 151"/>
                  <a:gd name="T50" fmla="*/ 32 w 109"/>
                  <a:gd name="T51" fmla="*/ 8 h 151"/>
                  <a:gd name="T52" fmla="*/ 25 w 109"/>
                  <a:gd name="T53" fmla="*/ 15 h 151"/>
                  <a:gd name="T54" fmla="*/ 25 w 109"/>
                  <a:gd name="T55" fmla="*/ 23 h 151"/>
                  <a:gd name="T56" fmla="*/ 15 w 109"/>
                  <a:gd name="T57" fmla="*/ 23 h 151"/>
                  <a:gd name="T58" fmla="*/ 0 w 109"/>
                  <a:gd name="T59" fmla="*/ 38 h 151"/>
                  <a:gd name="T60" fmla="*/ 0 w 109"/>
                  <a:gd name="T61" fmla="*/ 137 h 151"/>
                  <a:gd name="T62" fmla="*/ 15 w 109"/>
                  <a:gd name="T63" fmla="*/ 151 h 151"/>
                  <a:gd name="T64" fmla="*/ 74 w 109"/>
                  <a:gd name="T65" fmla="*/ 151 h 151"/>
                  <a:gd name="T66" fmla="*/ 72 w 109"/>
                  <a:gd name="T67" fmla="*/ 145 h 151"/>
                  <a:gd name="T68" fmla="*/ 31 w 109"/>
                  <a:gd name="T69" fmla="*/ 14 h 151"/>
                  <a:gd name="T70" fmla="*/ 79 w 109"/>
                  <a:gd name="T71" fmla="*/ 14 h 151"/>
                  <a:gd name="T72" fmla="*/ 79 w 109"/>
                  <a:gd name="T73" fmla="*/ 31 h 151"/>
                  <a:gd name="T74" fmla="*/ 31 w 109"/>
                  <a:gd name="T75" fmla="*/ 31 h 151"/>
                  <a:gd name="T76" fmla="*/ 31 w 109"/>
                  <a:gd name="T77" fmla="*/ 1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9" h="151">
                    <a:moveTo>
                      <a:pt x="72" y="145"/>
                    </a:moveTo>
                    <a:cubicBezTo>
                      <a:pt x="15" y="145"/>
                      <a:pt x="15" y="145"/>
                      <a:pt x="15" y="145"/>
                    </a:cubicBezTo>
                    <a:cubicBezTo>
                      <a:pt x="10" y="145"/>
                      <a:pt x="7" y="141"/>
                      <a:pt x="7" y="137"/>
                    </a:cubicBezTo>
                    <a:cubicBezTo>
                      <a:pt x="7" y="38"/>
                      <a:pt x="7" y="38"/>
                      <a:pt x="7" y="38"/>
                    </a:cubicBezTo>
                    <a:cubicBezTo>
                      <a:pt x="7" y="33"/>
                      <a:pt x="10" y="29"/>
                      <a:pt x="15" y="29"/>
                    </a:cubicBezTo>
                    <a:cubicBezTo>
                      <a:pt x="25" y="29"/>
                      <a:pt x="25" y="29"/>
                      <a:pt x="25" y="29"/>
                    </a:cubicBezTo>
                    <a:cubicBezTo>
                      <a:pt x="25" y="30"/>
                      <a:pt x="25" y="30"/>
                      <a:pt x="25" y="30"/>
                    </a:cubicBezTo>
                    <a:cubicBezTo>
                      <a:pt x="25" y="34"/>
                      <a:pt x="28" y="37"/>
                      <a:pt x="32" y="37"/>
                    </a:cubicBezTo>
                    <a:cubicBezTo>
                      <a:pt x="78" y="37"/>
                      <a:pt x="78" y="37"/>
                      <a:pt x="78" y="37"/>
                    </a:cubicBezTo>
                    <a:cubicBezTo>
                      <a:pt x="82" y="37"/>
                      <a:pt x="85" y="34"/>
                      <a:pt x="85" y="30"/>
                    </a:cubicBezTo>
                    <a:cubicBezTo>
                      <a:pt x="85" y="29"/>
                      <a:pt x="85" y="29"/>
                      <a:pt x="85" y="29"/>
                    </a:cubicBezTo>
                    <a:cubicBezTo>
                      <a:pt x="94" y="29"/>
                      <a:pt x="94" y="29"/>
                      <a:pt x="94" y="29"/>
                    </a:cubicBezTo>
                    <a:cubicBezTo>
                      <a:pt x="99" y="29"/>
                      <a:pt x="102" y="33"/>
                      <a:pt x="102" y="38"/>
                    </a:cubicBezTo>
                    <a:cubicBezTo>
                      <a:pt x="102" y="90"/>
                      <a:pt x="102" y="90"/>
                      <a:pt x="102" y="90"/>
                    </a:cubicBezTo>
                    <a:cubicBezTo>
                      <a:pt x="109" y="89"/>
                      <a:pt x="109" y="89"/>
                      <a:pt x="109" y="89"/>
                    </a:cubicBezTo>
                    <a:cubicBezTo>
                      <a:pt x="109" y="38"/>
                      <a:pt x="109" y="38"/>
                      <a:pt x="109" y="38"/>
                    </a:cubicBezTo>
                    <a:cubicBezTo>
                      <a:pt x="109" y="30"/>
                      <a:pt x="102" y="23"/>
                      <a:pt x="94" y="23"/>
                    </a:cubicBezTo>
                    <a:cubicBezTo>
                      <a:pt x="85" y="23"/>
                      <a:pt x="85" y="23"/>
                      <a:pt x="85" y="23"/>
                    </a:cubicBezTo>
                    <a:cubicBezTo>
                      <a:pt x="85" y="15"/>
                      <a:pt x="85" y="15"/>
                      <a:pt x="85" y="15"/>
                    </a:cubicBezTo>
                    <a:cubicBezTo>
                      <a:pt x="85" y="11"/>
                      <a:pt x="82" y="8"/>
                      <a:pt x="78" y="8"/>
                    </a:cubicBezTo>
                    <a:cubicBezTo>
                      <a:pt x="62" y="8"/>
                      <a:pt x="62" y="8"/>
                      <a:pt x="62" y="8"/>
                    </a:cubicBezTo>
                    <a:cubicBezTo>
                      <a:pt x="62" y="7"/>
                      <a:pt x="62" y="7"/>
                      <a:pt x="62" y="7"/>
                    </a:cubicBezTo>
                    <a:cubicBezTo>
                      <a:pt x="62" y="3"/>
                      <a:pt x="59" y="0"/>
                      <a:pt x="55" y="0"/>
                    </a:cubicBezTo>
                    <a:cubicBezTo>
                      <a:pt x="51" y="0"/>
                      <a:pt x="48" y="3"/>
                      <a:pt x="48" y="7"/>
                    </a:cubicBezTo>
                    <a:cubicBezTo>
                      <a:pt x="48" y="8"/>
                      <a:pt x="48" y="8"/>
                      <a:pt x="48" y="8"/>
                    </a:cubicBezTo>
                    <a:cubicBezTo>
                      <a:pt x="32" y="8"/>
                      <a:pt x="32" y="8"/>
                      <a:pt x="32" y="8"/>
                    </a:cubicBezTo>
                    <a:cubicBezTo>
                      <a:pt x="28" y="8"/>
                      <a:pt x="25" y="11"/>
                      <a:pt x="25" y="15"/>
                    </a:cubicBezTo>
                    <a:cubicBezTo>
                      <a:pt x="25" y="23"/>
                      <a:pt x="25" y="23"/>
                      <a:pt x="25" y="23"/>
                    </a:cubicBezTo>
                    <a:cubicBezTo>
                      <a:pt x="15" y="23"/>
                      <a:pt x="15" y="23"/>
                      <a:pt x="15" y="23"/>
                    </a:cubicBezTo>
                    <a:cubicBezTo>
                      <a:pt x="7" y="23"/>
                      <a:pt x="0" y="30"/>
                      <a:pt x="0" y="38"/>
                    </a:cubicBezTo>
                    <a:cubicBezTo>
                      <a:pt x="0" y="137"/>
                      <a:pt x="0" y="137"/>
                      <a:pt x="0" y="137"/>
                    </a:cubicBezTo>
                    <a:cubicBezTo>
                      <a:pt x="0" y="145"/>
                      <a:pt x="7" y="151"/>
                      <a:pt x="15" y="151"/>
                    </a:cubicBezTo>
                    <a:cubicBezTo>
                      <a:pt x="74" y="151"/>
                      <a:pt x="74" y="151"/>
                      <a:pt x="74" y="151"/>
                    </a:cubicBezTo>
                    <a:lnTo>
                      <a:pt x="72" y="145"/>
                    </a:lnTo>
                    <a:close/>
                    <a:moveTo>
                      <a:pt x="31" y="14"/>
                    </a:moveTo>
                    <a:cubicBezTo>
                      <a:pt x="79" y="14"/>
                      <a:pt x="79" y="14"/>
                      <a:pt x="79" y="14"/>
                    </a:cubicBezTo>
                    <a:cubicBezTo>
                      <a:pt x="79" y="31"/>
                      <a:pt x="79" y="31"/>
                      <a:pt x="79" y="31"/>
                    </a:cubicBezTo>
                    <a:cubicBezTo>
                      <a:pt x="31" y="31"/>
                      <a:pt x="31" y="31"/>
                      <a:pt x="31" y="31"/>
                    </a:cubicBezTo>
                    <a:lnTo>
                      <a:pt x="31"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Freeform 109">
                <a:extLst>
                  <a:ext uri="{FF2B5EF4-FFF2-40B4-BE49-F238E27FC236}">
                    <a16:creationId xmlns:a16="http://schemas.microsoft.com/office/drawing/2014/main" id="{C8850758-072F-1667-5BA2-190DCC60DAF2}"/>
                  </a:ext>
                </a:extLst>
              </p:cNvPr>
              <p:cNvSpPr>
                <a:spLocks/>
              </p:cNvSpPr>
              <p:nvPr/>
            </p:nvSpPr>
            <p:spPr bwMode="auto">
              <a:xfrm>
                <a:off x="8609013" y="1425576"/>
                <a:ext cx="239713" cy="242888"/>
              </a:xfrm>
              <a:custGeom>
                <a:avLst/>
                <a:gdLst>
                  <a:gd name="T0" fmla="*/ 73 w 75"/>
                  <a:gd name="T1" fmla="*/ 26 h 76"/>
                  <a:gd name="T2" fmla="*/ 71 w 75"/>
                  <a:gd name="T3" fmla="*/ 24 h 76"/>
                  <a:gd name="T4" fmla="*/ 69 w 75"/>
                  <a:gd name="T5" fmla="*/ 24 h 76"/>
                  <a:gd name="T6" fmla="*/ 68 w 75"/>
                  <a:gd name="T7" fmla="*/ 28 h 76"/>
                  <a:gd name="T8" fmla="*/ 69 w 75"/>
                  <a:gd name="T9" fmla="*/ 38 h 76"/>
                  <a:gd name="T10" fmla="*/ 37 w 75"/>
                  <a:gd name="T11" fmla="*/ 70 h 76"/>
                  <a:gd name="T12" fmla="*/ 5 w 75"/>
                  <a:gd name="T13" fmla="*/ 38 h 76"/>
                  <a:gd name="T14" fmla="*/ 37 w 75"/>
                  <a:gd name="T15" fmla="*/ 6 h 76"/>
                  <a:gd name="T16" fmla="*/ 60 w 75"/>
                  <a:gd name="T17" fmla="*/ 15 h 76"/>
                  <a:gd name="T18" fmla="*/ 62 w 75"/>
                  <a:gd name="T19" fmla="*/ 16 h 76"/>
                  <a:gd name="T20" fmla="*/ 62 w 75"/>
                  <a:gd name="T21" fmla="*/ 16 h 76"/>
                  <a:gd name="T22" fmla="*/ 64 w 75"/>
                  <a:gd name="T23" fmla="*/ 15 h 76"/>
                  <a:gd name="T24" fmla="*/ 65 w 75"/>
                  <a:gd name="T25" fmla="*/ 13 h 76"/>
                  <a:gd name="T26" fmla="*/ 64 w 75"/>
                  <a:gd name="T27" fmla="*/ 11 h 76"/>
                  <a:gd name="T28" fmla="*/ 37 w 75"/>
                  <a:gd name="T29" fmla="*/ 0 h 76"/>
                  <a:gd name="T30" fmla="*/ 0 w 75"/>
                  <a:gd name="T31" fmla="*/ 38 h 76"/>
                  <a:gd name="T32" fmla="*/ 37 w 75"/>
                  <a:gd name="T33" fmla="*/ 76 h 76"/>
                  <a:gd name="T34" fmla="*/ 75 w 75"/>
                  <a:gd name="T35" fmla="*/ 38 h 76"/>
                  <a:gd name="T36" fmla="*/ 73 w 75"/>
                  <a:gd name="T37" fmla="*/ 2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76">
                    <a:moveTo>
                      <a:pt x="73" y="26"/>
                    </a:moveTo>
                    <a:cubicBezTo>
                      <a:pt x="73" y="25"/>
                      <a:pt x="72" y="25"/>
                      <a:pt x="71" y="24"/>
                    </a:cubicBezTo>
                    <a:cubicBezTo>
                      <a:pt x="71" y="24"/>
                      <a:pt x="70" y="24"/>
                      <a:pt x="69" y="24"/>
                    </a:cubicBezTo>
                    <a:cubicBezTo>
                      <a:pt x="68" y="25"/>
                      <a:pt x="67" y="27"/>
                      <a:pt x="68" y="28"/>
                    </a:cubicBezTo>
                    <a:cubicBezTo>
                      <a:pt x="69" y="32"/>
                      <a:pt x="69" y="34"/>
                      <a:pt x="69" y="38"/>
                    </a:cubicBezTo>
                    <a:cubicBezTo>
                      <a:pt x="69" y="56"/>
                      <a:pt x="55" y="70"/>
                      <a:pt x="37" y="70"/>
                    </a:cubicBezTo>
                    <a:cubicBezTo>
                      <a:pt x="20" y="70"/>
                      <a:pt x="5" y="56"/>
                      <a:pt x="5" y="38"/>
                    </a:cubicBezTo>
                    <a:cubicBezTo>
                      <a:pt x="5" y="21"/>
                      <a:pt x="20" y="6"/>
                      <a:pt x="37" y="6"/>
                    </a:cubicBezTo>
                    <a:cubicBezTo>
                      <a:pt x="46" y="6"/>
                      <a:pt x="54" y="9"/>
                      <a:pt x="60" y="15"/>
                    </a:cubicBezTo>
                    <a:cubicBezTo>
                      <a:pt x="60" y="16"/>
                      <a:pt x="61" y="16"/>
                      <a:pt x="62" y="16"/>
                    </a:cubicBezTo>
                    <a:cubicBezTo>
                      <a:pt x="62" y="16"/>
                      <a:pt x="62" y="16"/>
                      <a:pt x="62" y="16"/>
                    </a:cubicBezTo>
                    <a:cubicBezTo>
                      <a:pt x="62" y="16"/>
                      <a:pt x="63" y="16"/>
                      <a:pt x="64" y="15"/>
                    </a:cubicBezTo>
                    <a:cubicBezTo>
                      <a:pt x="64" y="15"/>
                      <a:pt x="65" y="14"/>
                      <a:pt x="65" y="13"/>
                    </a:cubicBezTo>
                    <a:cubicBezTo>
                      <a:pt x="65" y="13"/>
                      <a:pt x="64" y="12"/>
                      <a:pt x="64" y="11"/>
                    </a:cubicBezTo>
                    <a:cubicBezTo>
                      <a:pt x="57" y="4"/>
                      <a:pt x="48" y="0"/>
                      <a:pt x="37" y="0"/>
                    </a:cubicBezTo>
                    <a:cubicBezTo>
                      <a:pt x="16" y="0"/>
                      <a:pt x="0" y="17"/>
                      <a:pt x="0" y="38"/>
                    </a:cubicBezTo>
                    <a:cubicBezTo>
                      <a:pt x="0" y="59"/>
                      <a:pt x="16" y="76"/>
                      <a:pt x="37" y="76"/>
                    </a:cubicBezTo>
                    <a:cubicBezTo>
                      <a:pt x="58" y="76"/>
                      <a:pt x="75" y="59"/>
                      <a:pt x="75" y="38"/>
                    </a:cubicBezTo>
                    <a:cubicBezTo>
                      <a:pt x="75" y="33"/>
                      <a:pt x="75" y="30"/>
                      <a:pt x="73" y="2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110">
                <a:extLst>
                  <a:ext uri="{FF2B5EF4-FFF2-40B4-BE49-F238E27FC236}">
                    <a16:creationId xmlns:a16="http://schemas.microsoft.com/office/drawing/2014/main" id="{F6E008D8-B49F-7C92-EA2F-3DE0A50C744D}"/>
                  </a:ext>
                </a:extLst>
              </p:cNvPr>
              <p:cNvSpPr>
                <a:spLocks/>
              </p:cNvSpPr>
              <p:nvPr/>
            </p:nvSpPr>
            <p:spPr bwMode="auto">
              <a:xfrm>
                <a:off x="8666163" y="1463676"/>
                <a:ext cx="179388" cy="128588"/>
              </a:xfrm>
              <a:custGeom>
                <a:avLst/>
                <a:gdLst>
                  <a:gd name="T0" fmla="*/ 5 w 56"/>
                  <a:gd name="T1" fmla="*/ 19 h 40"/>
                  <a:gd name="T2" fmla="*/ 1 w 56"/>
                  <a:gd name="T3" fmla="*/ 19 h 40"/>
                  <a:gd name="T4" fmla="*/ 0 w 56"/>
                  <a:gd name="T5" fmla="*/ 21 h 40"/>
                  <a:gd name="T6" fmla="*/ 1 w 56"/>
                  <a:gd name="T7" fmla="*/ 23 h 40"/>
                  <a:gd name="T8" fmla="*/ 17 w 56"/>
                  <a:gd name="T9" fmla="*/ 40 h 40"/>
                  <a:gd name="T10" fmla="*/ 19 w 56"/>
                  <a:gd name="T11" fmla="*/ 40 h 40"/>
                  <a:gd name="T12" fmla="*/ 21 w 56"/>
                  <a:gd name="T13" fmla="*/ 40 h 40"/>
                  <a:gd name="T14" fmla="*/ 55 w 56"/>
                  <a:gd name="T15" fmla="*/ 5 h 40"/>
                  <a:gd name="T16" fmla="*/ 55 w 56"/>
                  <a:gd name="T17" fmla="*/ 1 h 40"/>
                  <a:gd name="T18" fmla="*/ 53 w 56"/>
                  <a:gd name="T19" fmla="*/ 0 h 40"/>
                  <a:gd name="T20" fmla="*/ 51 w 56"/>
                  <a:gd name="T21" fmla="*/ 1 h 40"/>
                  <a:gd name="T22" fmla="*/ 19 w 56"/>
                  <a:gd name="T23" fmla="*/ 34 h 40"/>
                  <a:gd name="T24" fmla="*/ 5 w 56"/>
                  <a:gd name="T25" fmla="*/ 1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40">
                    <a:moveTo>
                      <a:pt x="5" y="19"/>
                    </a:moveTo>
                    <a:cubicBezTo>
                      <a:pt x="4" y="18"/>
                      <a:pt x="2" y="18"/>
                      <a:pt x="1" y="19"/>
                    </a:cubicBezTo>
                    <a:cubicBezTo>
                      <a:pt x="0" y="20"/>
                      <a:pt x="0" y="20"/>
                      <a:pt x="0" y="21"/>
                    </a:cubicBezTo>
                    <a:cubicBezTo>
                      <a:pt x="0" y="22"/>
                      <a:pt x="0" y="23"/>
                      <a:pt x="1" y="23"/>
                    </a:cubicBezTo>
                    <a:cubicBezTo>
                      <a:pt x="17" y="40"/>
                      <a:pt x="17" y="40"/>
                      <a:pt x="17" y="40"/>
                    </a:cubicBezTo>
                    <a:cubicBezTo>
                      <a:pt x="18" y="40"/>
                      <a:pt x="18" y="40"/>
                      <a:pt x="19" y="40"/>
                    </a:cubicBezTo>
                    <a:cubicBezTo>
                      <a:pt x="20" y="40"/>
                      <a:pt x="21" y="40"/>
                      <a:pt x="21" y="40"/>
                    </a:cubicBezTo>
                    <a:cubicBezTo>
                      <a:pt x="55" y="5"/>
                      <a:pt x="55" y="5"/>
                      <a:pt x="55" y="5"/>
                    </a:cubicBezTo>
                    <a:cubicBezTo>
                      <a:pt x="56" y="4"/>
                      <a:pt x="56" y="2"/>
                      <a:pt x="55" y="1"/>
                    </a:cubicBezTo>
                    <a:cubicBezTo>
                      <a:pt x="54" y="0"/>
                      <a:pt x="53" y="0"/>
                      <a:pt x="53" y="0"/>
                    </a:cubicBezTo>
                    <a:cubicBezTo>
                      <a:pt x="52" y="0"/>
                      <a:pt x="51" y="0"/>
                      <a:pt x="51" y="1"/>
                    </a:cubicBezTo>
                    <a:cubicBezTo>
                      <a:pt x="19" y="34"/>
                      <a:pt x="19" y="34"/>
                      <a:pt x="19" y="34"/>
                    </a:cubicBezTo>
                    <a:lnTo>
                      <a:pt x="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93" name="Rectangle 92">
            <a:extLst>
              <a:ext uri="{FF2B5EF4-FFF2-40B4-BE49-F238E27FC236}">
                <a16:creationId xmlns:a16="http://schemas.microsoft.com/office/drawing/2014/main" id="{20C0AF65-DA6F-D9A6-8DC5-FC91F8D2934F}"/>
              </a:ext>
            </a:extLst>
          </p:cNvPr>
          <p:cNvSpPr/>
          <p:nvPr/>
        </p:nvSpPr>
        <p:spPr>
          <a:xfrm>
            <a:off x="6571787" y="4287870"/>
            <a:ext cx="887462" cy="1601076"/>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000" dirty="0">
                <a:solidFill>
                  <a:schemeClr val="accent6"/>
                </a:solidFill>
              </a:rPr>
              <a:t>Planner collaborates with internal referrals departments and invites them to the meeting if needed</a:t>
            </a:r>
          </a:p>
        </p:txBody>
      </p:sp>
      <p:sp>
        <p:nvSpPr>
          <p:cNvPr id="108" name="Rectangle 107">
            <a:extLst>
              <a:ext uri="{FF2B5EF4-FFF2-40B4-BE49-F238E27FC236}">
                <a16:creationId xmlns:a16="http://schemas.microsoft.com/office/drawing/2014/main" id="{C5D91606-0027-3D49-299A-E32D937BCD32}"/>
              </a:ext>
            </a:extLst>
          </p:cNvPr>
          <p:cNvSpPr/>
          <p:nvPr/>
        </p:nvSpPr>
        <p:spPr>
          <a:xfrm>
            <a:off x="7519004" y="4287870"/>
            <a:ext cx="933996" cy="1601076"/>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000" dirty="0">
                <a:solidFill>
                  <a:schemeClr val="accent6"/>
                </a:solidFill>
              </a:rPr>
              <a:t>Planner prepares notes for the meeting</a:t>
            </a:r>
          </a:p>
          <a:p>
            <a:endParaRPr lang="en-AU" sz="1000" dirty="0">
              <a:solidFill>
                <a:schemeClr val="accent6"/>
              </a:solidFill>
            </a:endParaRPr>
          </a:p>
          <a:p>
            <a:r>
              <a:rPr lang="en-AU" sz="1000" dirty="0">
                <a:solidFill>
                  <a:schemeClr val="accent6"/>
                </a:solidFill>
                <a:highlight>
                  <a:srgbClr val="FFFF00"/>
                </a:highlight>
                <a:latin typeface="Arial"/>
                <a:cs typeface="Arial"/>
              </a:rPr>
              <a:t>[you may wish to include a link to the internal guide for running pre-application meetings, and the pre-application meeting agenda and minutes, other available solutions in this suite]</a:t>
            </a:r>
            <a:endParaRPr lang="en-AU" sz="1000" dirty="0">
              <a:solidFill>
                <a:schemeClr val="accent6"/>
              </a:solidFill>
              <a:highlight>
                <a:srgbClr val="FFFF00"/>
              </a:highlight>
            </a:endParaRPr>
          </a:p>
        </p:txBody>
      </p:sp>
      <p:sp>
        <p:nvSpPr>
          <p:cNvPr id="112" name="Rectangle 111">
            <a:extLst>
              <a:ext uri="{FF2B5EF4-FFF2-40B4-BE49-F238E27FC236}">
                <a16:creationId xmlns:a16="http://schemas.microsoft.com/office/drawing/2014/main" id="{BC13D3B5-5BC4-EBC2-65E5-9BEC04B7F9AB}"/>
              </a:ext>
            </a:extLst>
          </p:cNvPr>
          <p:cNvSpPr/>
          <p:nvPr/>
        </p:nvSpPr>
        <p:spPr>
          <a:xfrm>
            <a:off x="8550769" y="4287870"/>
            <a:ext cx="864516" cy="1601076"/>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r>
              <a:rPr lang="en-AU" sz="1000" dirty="0">
                <a:solidFill>
                  <a:schemeClr val="accent6"/>
                </a:solidFill>
              </a:rPr>
              <a:t>Planner facilitates the pre-app meeting and walks the applicant through the topics in the meeting guide.</a:t>
            </a:r>
          </a:p>
        </p:txBody>
      </p:sp>
      <p:sp>
        <p:nvSpPr>
          <p:cNvPr id="116" name="Rectangle 115">
            <a:extLst>
              <a:ext uri="{FF2B5EF4-FFF2-40B4-BE49-F238E27FC236}">
                <a16:creationId xmlns:a16="http://schemas.microsoft.com/office/drawing/2014/main" id="{0F90129A-BC11-22BB-C543-7568180BB88B}"/>
              </a:ext>
            </a:extLst>
          </p:cNvPr>
          <p:cNvSpPr/>
          <p:nvPr/>
        </p:nvSpPr>
        <p:spPr>
          <a:xfrm>
            <a:off x="9511269" y="4287870"/>
            <a:ext cx="994622" cy="1601076"/>
          </a:xfrm>
          <a:prstGeom prst="rect">
            <a:avLst/>
          </a:prstGeom>
          <a:no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spcAft>
                <a:spcPts val="600"/>
              </a:spcAft>
            </a:pPr>
            <a:r>
              <a:rPr lang="en-AU" sz="1000" dirty="0">
                <a:solidFill>
                  <a:schemeClr val="accent6"/>
                </a:solidFill>
              </a:rPr>
              <a:t>After the meeting, planner reviews the</a:t>
            </a:r>
            <a:br>
              <a:rPr lang="en-AU" sz="1000" dirty="0">
                <a:solidFill>
                  <a:schemeClr val="accent6"/>
                </a:solidFill>
              </a:rPr>
            </a:br>
            <a:r>
              <a:rPr lang="en-AU" sz="1000" dirty="0">
                <a:solidFill>
                  <a:schemeClr val="accent6"/>
                </a:solidFill>
              </a:rPr>
              <a:t>notes and emails them</a:t>
            </a:r>
            <a:br>
              <a:rPr lang="en-AU" sz="1000" dirty="0">
                <a:solidFill>
                  <a:schemeClr val="accent6"/>
                </a:solidFill>
              </a:rPr>
            </a:br>
            <a:r>
              <a:rPr lang="en-AU" sz="1000" dirty="0">
                <a:solidFill>
                  <a:schemeClr val="accent6"/>
                </a:solidFill>
              </a:rPr>
              <a:t>to the applicant.</a:t>
            </a:r>
          </a:p>
          <a:p>
            <a:r>
              <a:rPr lang="en-AU" sz="1000" b="1" dirty="0">
                <a:solidFill>
                  <a:schemeClr val="accent6"/>
                </a:solidFill>
              </a:rPr>
              <a:t>Within </a:t>
            </a:r>
            <a:r>
              <a:rPr lang="en-AU" sz="1000" dirty="0">
                <a:solidFill>
                  <a:schemeClr val="accent6"/>
                </a:solidFill>
                <a:highlight>
                  <a:srgbClr val="FFFF00"/>
                </a:highlight>
              </a:rPr>
              <a:t>&lt;X days&gt;</a:t>
            </a:r>
            <a:r>
              <a:rPr lang="en-AU" sz="1000" dirty="0">
                <a:solidFill>
                  <a:schemeClr val="accent6"/>
                </a:solidFill>
              </a:rPr>
              <a:t>  </a:t>
            </a:r>
            <a:r>
              <a:rPr lang="en-AU" sz="1000" b="1" dirty="0">
                <a:solidFill>
                  <a:schemeClr val="accent6"/>
                </a:solidFill>
              </a:rPr>
              <a:t>after the meeting unless the planner needs to follow up with other departments. Planner sets clear timeframe expectations at the end of the</a:t>
            </a:r>
            <a:br>
              <a:rPr lang="en-AU" sz="1000" b="1" dirty="0">
                <a:solidFill>
                  <a:schemeClr val="accent6"/>
                </a:solidFill>
              </a:rPr>
            </a:br>
            <a:r>
              <a:rPr lang="en-AU" sz="1000" b="1" dirty="0">
                <a:solidFill>
                  <a:schemeClr val="accent6"/>
                </a:solidFill>
              </a:rPr>
              <a:t>pre-app meeting.</a:t>
            </a:r>
          </a:p>
        </p:txBody>
      </p:sp>
      <p:grpSp>
        <p:nvGrpSpPr>
          <p:cNvPr id="154" name="Group 153">
            <a:extLst>
              <a:ext uri="{FF2B5EF4-FFF2-40B4-BE49-F238E27FC236}">
                <a16:creationId xmlns:a16="http://schemas.microsoft.com/office/drawing/2014/main" id="{392D0EC7-FDB2-1B16-D397-129DD52EE7BF}"/>
              </a:ext>
              <a:ext uri="{C183D7F6-B498-43B3-948B-1728B52AA6E4}">
                <adec:decorative xmlns:adec="http://schemas.microsoft.com/office/drawing/2017/decorative" val="1"/>
              </a:ext>
            </a:extLst>
          </p:cNvPr>
          <p:cNvGrpSpPr/>
          <p:nvPr/>
        </p:nvGrpSpPr>
        <p:grpSpPr>
          <a:xfrm>
            <a:off x="9774391" y="3748155"/>
            <a:ext cx="442209" cy="442209"/>
            <a:chOff x="9803266" y="4126128"/>
            <a:chExt cx="442209" cy="442209"/>
          </a:xfrm>
        </p:grpSpPr>
        <p:sp>
          <p:nvSpPr>
            <p:cNvPr id="118" name="Oval 117">
              <a:hlinkClick r:id="rId5" action="ppaction://hlinksldjump"/>
              <a:extLst>
                <a:ext uri="{FF2B5EF4-FFF2-40B4-BE49-F238E27FC236}">
                  <a16:creationId xmlns:a16="http://schemas.microsoft.com/office/drawing/2014/main" id="{EF6F40D2-E448-E2FD-5855-BB66E8C871D9}"/>
                </a:ext>
              </a:extLst>
            </p:cNvPr>
            <p:cNvSpPr/>
            <p:nvPr/>
          </p:nvSpPr>
          <p:spPr>
            <a:xfrm>
              <a:off x="9803266" y="4126128"/>
              <a:ext cx="442209" cy="442209"/>
            </a:xfrm>
            <a:prstGeom prst="ellipse">
              <a:avLst/>
            </a:prstGeom>
            <a:solidFill>
              <a:schemeClr val="accent6"/>
            </a:solidFill>
            <a:ln w="349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19" name="Graphic 118">
              <a:hlinkClick r:id="rId5" action="ppaction://hlinksldjump"/>
              <a:extLst>
                <a:ext uri="{FF2B5EF4-FFF2-40B4-BE49-F238E27FC236}">
                  <a16:creationId xmlns:a16="http://schemas.microsoft.com/office/drawing/2014/main" id="{FA8A7569-E7EC-C8A8-B589-FD5C818673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18401" y="4242043"/>
              <a:ext cx="232525" cy="210379"/>
            </a:xfrm>
            <a:prstGeom prst="rect">
              <a:avLst/>
            </a:prstGeom>
          </p:spPr>
        </p:pic>
      </p:grpSp>
      <p:grpSp>
        <p:nvGrpSpPr>
          <p:cNvPr id="143" name="Group 142">
            <a:extLst>
              <a:ext uri="{FF2B5EF4-FFF2-40B4-BE49-F238E27FC236}">
                <a16:creationId xmlns:a16="http://schemas.microsoft.com/office/drawing/2014/main" id="{DD504B17-10F5-17D5-7F49-C2F2419E4EC0}"/>
              </a:ext>
              <a:ext uri="{C183D7F6-B498-43B3-948B-1728B52AA6E4}">
                <adec:decorative xmlns:adec="http://schemas.microsoft.com/office/drawing/2017/decorative" val="1"/>
              </a:ext>
            </a:extLst>
          </p:cNvPr>
          <p:cNvGrpSpPr/>
          <p:nvPr/>
        </p:nvGrpSpPr>
        <p:grpSpPr>
          <a:xfrm>
            <a:off x="2549921" y="2810247"/>
            <a:ext cx="442209" cy="442209"/>
            <a:chOff x="6936617" y="2699372"/>
            <a:chExt cx="442209" cy="442209"/>
          </a:xfrm>
        </p:grpSpPr>
        <p:sp>
          <p:nvSpPr>
            <p:cNvPr id="144" name="Oval 143">
              <a:extLst>
                <a:ext uri="{FF2B5EF4-FFF2-40B4-BE49-F238E27FC236}">
                  <a16:creationId xmlns:a16="http://schemas.microsoft.com/office/drawing/2014/main" id="{C6FA1DBF-B23F-4F58-7848-E987C58D7856}"/>
                </a:ext>
              </a:extLst>
            </p:cNvPr>
            <p:cNvSpPr/>
            <p:nvPr/>
          </p:nvSpPr>
          <p:spPr>
            <a:xfrm>
              <a:off x="6936617" y="2699372"/>
              <a:ext cx="442209" cy="442209"/>
            </a:xfrm>
            <a:prstGeom prst="ellipse">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145" name="Group 144">
              <a:extLst>
                <a:ext uri="{FF2B5EF4-FFF2-40B4-BE49-F238E27FC236}">
                  <a16:creationId xmlns:a16="http://schemas.microsoft.com/office/drawing/2014/main" id="{292C7701-4B3B-3C34-4374-759AAA685762}"/>
                </a:ext>
              </a:extLst>
            </p:cNvPr>
            <p:cNvGrpSpPr>
              <a:grpSpLocks noChangeAspect="1"/>
            </p:cNvGrpSpPr>
            <p:nvPr/>
          </p:nvGrpSpPr>
          <p:grpSpPr>
            <a:xfrm>
              <a:off x="7045173" y="2804732"/>
              <a:ext cx="225093" cy="204032"/>
              <a:chOff x="7219950" y="2230438"/>
              <a:chExt cx="542925" cy="492125"/>
            </a:xfrm>
            <a:solidFill>
              <a:srgbClr val="FFFFFF"/>
            </a:solidFill>
          </p:grpSpPr>
          <p:sp>
            <p:nvSpPr>
              <p:cNvPr id="146" name="Freeform 50">
                <a:extLst>
                  <a:ext uri="{FF2B5EF4-FFF2-40B4-BE49-F238E27FC236}">
                    <a16:creationId xmlns:a16="http://schemas.microsoft.com/office/drawing/2014/main" id="{111C2460-4171-04AB-C623-577D94AF0921}"/>
                  </a:ext>
                </a:extLst>
              </p:cNvPr>
              <p:cNvSpPr>
                <a:spLocks/>
              </p:cNvSpPr>
              <p:nvPr/>
            </p:nvSpPr>
            <p:spPr bwMode="auto">
              <a:xfrm>
                <a:off x="7408863" y="2230438"/>
                <a:ext cx="169863" cy="293688"/>
              </a:xfrm>
              <a:custGeom>
                <a:avLst/>
                <a:gdLst>
                  <a:gd name="T0" fmla="*/ 3 w 53"/>
                  <a:gd name="T1" fmla="*/ 62 h 92"/>
                  <a:gd name="T2" fmla="*/ 0 w 53"/>
                  <a:gd name="T3" fmla="*/ 65 h 92"/>
                  <a:gd name="T4" fmla="*/ 1 w 53"/>
                  <a:gd name="T5" fmla="*/ 68 h 92"/>
                  <a:gd name="T6" fmla="*/ 24 w 53"/>
                  <a:gd name="T7" fmla="*/ 91 h 92"/>
                  <a:gd name="T8" fmla="*/ 29 w 53"/>
                  <a:gd name="T9" fmla="*/ 91 h 92"/>
                  <a:gd name="T10" fmla="*/ 52 w 53"/>
                  <a:gd name="T11" fmla="*/ 68 h 92"/>
                  <a:gd name="T12" fmla="*/ 53 w 53"/>
                  <a:gd name="T13" fmla="*/ 65 h 92"/>
                  <a:gd name="T14" fmla="*/ 50 w 53"/>
                  <a:gd name="T15" fmla="*/ 62 h 92"/>
                  <a:gd name="T16" fmla="*/ 47 w 53"/>
                  <a:gd name="T17" fmla="*/ 63 h 92"/>
                  <a:gd name="T18" fmla="*/ 30 w 53"/>
                  <a:gd name="T19" fmla="*/ 80 h 92"/>
                  <a:gd name="T20" fmla="*/ 30 w 53"/>
                  <a:gd name="T21" fmla="*/ 3 h 92"/>
                  <a:gd name="T22" fmla="*/ 26 w 53"/>
                  <a:gd name="T23" fmla="*/ 0 h 92"/>
                  <a:gd name="T24" fmla="*/ 23 w 53"/>
                  <a:gd name="T25" fmla="*/ 3 h 92"/>
                  <a:gd name="T26" fmla="*/ 23 w 53"/>
                  <a:gd name="T27" fmla="*/ 80 h 92"/>
                  <a:gd name="T28" fmla="*/ 6 w 53"/>
                  <a:gd name="T29" fmla="*/ 63 h 92"/>
                  <a:gd name="T30" fmla="*/ 3 w 53"/>
                  <a:gd name="T31" fmla="*/ 6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92">
                    <a:moveTo>
                      <a:pt x="3" y="62"/>
                    </a:moveTo>
                    <a:cubicBezTo>
                      <a:pt x="1" y="62"/>
                      <a:pt x="0" y="63"/>
                      <a:pt x="0" y="65"/>
                    </a:cubicBezTo>
                    <a:cubicBezTo>
                      <a:pt x="0" y="66"/>
                      <a:pt x="0" y="67"/>
                      <a:pt x="1" y="68"/>
                    </a:cubicBezTo>
                    <a:cubicBezTo>
                      <a:pt x="24" y="91"/>
                      <a:pt x="24" y="91"/>
                      <a:pt x="24" y="91"/>
                    </a:cubicBezTo>
                    <a:cubicBezTo>
                      <a:pt x="25" y="92"/>
                      <a:pt x="28" y="92"/>
                      <a:pt x="29" y="91"/>
                    </a:cubicBezTo>
                    <a:cubicBezTo>
                      <a:pt x="52" y="68"/>
                      <a:pt x="52" y="68"/>
                      <a:pt x="52" y="68"/>
                    </a:cubicBezTo>
                    <a:cubicBezTo>
                      <a:pt x="53" y="67"/>
                      <a:pt x="53" y="66"/>
                      <a:pt x="53" y="65"/>
                    </a:cubicBezTo>
                    <a:cubicBezTo>
                      <a:pt x="53" y="63"/>
                      <a:pt x="51" y="62"/>
                      <a:pt x="50" y="62"/>
                    </a:cubicBezTo>
                    <a:cubicBezTo>
                      <a:pt x="49" y="62"/>
                      <a:pt x="48" y="62"/>
                      <a:pt x="47" y="63"/>
                    </a:cubicBezTo>
                    <a:cubicBezTo>
                      <a:pt x="30" y="80"/>
                      <a:pt x="30" y="80"/>
                      <a:pt x="30" y="80"/>
                    </a:cubicBezTo>
                    <a:cubicBezTo>
                      <a:pt x="30" y="3"/>
                      <a:pt x="30" y="3"/>
                      <a:pt x="30" y="3"/>
                    </a:cubicBezTo>
                    <a:cubicBezTo>
                      <a:pt x="30" y="2"/>
                      <a:pt x="28" y="0"/>
                      <a:pt x="26" y="0"/>
                    </a:cubicBezTo>
                    <a:cubicBezTo>
                      <a:pt x="25" y="0"/>
                      <a:pt x="23" y="2"/>
                      <a:pt x="23" y="3"/>
                    </a:cubicBezTo>
                    <a:cubicBezTo>
                      <a:pt x="23" y="80"/>
                      <a:pt x="23" y="80"/>
                      <a:pt x="23" y="80"/>
                    </a:cubicBezTo>
                    <a:cubicBezTo>
                      <a:pt x="6" y="63"/>
                      <a:pt x="6" y="63"/>
                      <a:pt x="6" y="63"/>
                    </a:cubicBezTo>
                    <a:cubicBezTo>
                      <a:pt x="5" y="62"/>
                      <a:pt x="4" y="62"/>
                      <a:pt x="3"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7" name="Freeform 51">
                <a:extLst>
                  <a:ext uri="{FF2B5EF4-FFF2-40B4-BE49-F238E27FC236}">
                    <a16:creationId xmlns:a16="http://schemas.microsoft.com/office/drawing/2014/main" id="{CCB9BF7F-21A0-AF17-B3BE-D1D927EB0343}"/>
                  </a:ext>
                </a:extLst>
              </p:cNvPr>
              <p:cNvSpPr>
                <a:spLocks noEditPoints="1"/>
              </p:cNvSpPr>
              <p:nvPr/>
            </p:nvSpPr>
            <p:spPr bwMode="auto">
              <a:xfrm>
                <a:off x="7219950" y="2281238"/>
                <a:ext cx="542925" cy="441325"/>
              </a:xfrm>
              <a:custGeom>
                <a:avLst/>
                <a:gdLst>
                  <a:gd name="T0" fmla="*/ 169 w 170"/>
                  <a:gd name="T1" fmla="*/ 79 h 138"/>
                  <a:gd name="T2" fmla="*/ 169 w 170"/>
                  <a:gd name="T3" fmla="*/ 78 h 138"/>
                  <a:gd name="T4" fmla="*/ 169 w 170"/>
                  <a:gd name="T5" fmla="*/ 78 h 138"/>
                  <a:gd name="T6" fmla="*/ 131 w 170"/>
                  <a:gd name="T7" fmla="*/ 1 h 138"/>
                  <a:gd name="T8" fmla="*/ 128 w 170"/>
                  <a:gd name="T9" fmla="*/ 0 h 138"/>
                  <a:gd name="T10" fmla="*/ 101 w 170"/>
                  <a:gd name="T11" fmla="*/ 0 h 138"/>
                  <a:gd name="T12" fmla="*/ 98 w 170"/>
                  <a:gd name="T13" fmla="*/ 3 h 138"/>
                  <a:gd name="T14" fmla="*/ 101 w 170"/>
                  <a:gd name="T15" fmla="*/ 6 h 138"/>
                  <a:gd name="T16" fmla="*/ 126 w 170"/>
                  <a:gd name="T17" fmla="*/ 6 h 138"/>
                  <a:gd name="T18" fmla="*/ 126 w 170"/>
                  <a:gd name="T19" fmla="*/ 6 h 138"/>
                  <a:gd name="T20" fmla="*/ 161 w 170"/>
                  <a:gd name="T21" fmla="*/ 77 h 138"/>
                  <a:gd name="T22" fmla="*/ 112 w 170"/>
                  <a:gd name="T23" fmla="*/ 77 h 138"/>
                  <a:gd name="T24" fmla="*/ 109 w 170"/>
                  <a:gd name="T25" fmla="*/ 80 h 138"/>
                  <a:gd name="T26" fmla="*/ 85 w 170"/>
                  <a:gd name="T27" fmla="*/ 105 h 138"/>
                  <a:gd name="T28" fmla="*/ 62 w 170"/>
                  <a:gd name="T29" fmla="*/ 80 h 138"/>
                  <a:gd name="T30" fmla="*/ 58 w 170"/>
                  <a:gd name="T31" fmla="*/ 77 h 138"/>
                  <a:gd name="T32" fmla="*/ 9 w 170"/>
                  <a:gd name="T33" fmla="*/ 77 h 138"/>
                  <a:gd name="T34" fmla="*/ 9 w 170"/>
                  <a:gd name="T35" fmla="*/ 76 h 138"/>
                  <a:gd name="T36" fmla="*/ 45 w 170"/>
                  <a:gd name="T37" fmla="*/ 6 h 138"/>
                  <a:gd name="T38" fmla="*/ 70 w 170"/>
                  <a:gd name="T39" fmla="*/ 6 h 138"/>
                  <a:gd name="T40" fmla="*/ 73 w 170"/>
                  <a:gd name="T41" fmla="*/ 3 h 138"/>
                  <a:gd name="T42" fmla="*/ 70 w 170"/>
                  <a:gd name="T43" fmla="*/ 0 h 138"/>
                  <a:gd name="T44" fmla="*/ 43 w 170"/>
                  <a:gd name="T45" fmla="*/ 0 h 138"/>
                  <a:gd name="T46" fmla="*/ 40 w 170"/>
                  <a:gd name="T47" fmla="*/ 1 h 138"/>
                  <a:gd name="T48" fmla="*/ 40 w 170"/>
                  <a:gd name="T49" fmla="*/ 2 h 138"/>
                  <a:gd name="T50" fmla="*/ 40 w 170"/>
                  <a:gd name="T51" fmla="*/ 2 h 138"/>
                  <a:gd name="T52" fmla="*/ 1 w 170"/>
                  <a:gd name="T53" fmla="*/ 78 h 138"/>
                  <a:gd name="T54" fmla="*/ 1 w 170"/>
                  <a:gd name="T55" fmla="*/ 78 h 138"/>
                  <a:gd name="T56" fmla="*/ 0 w 170"/>
                  <a:gd name="T57" fmla="*/ 79 h 138"/>
                  <a:gd name="T58" fmla="*/ 0 w 170"/>
                  <a:gd name="T59" fmla="*/ 80 h 138"/>
                  <a:gd name="T60" fmla="*/ 0 w 170"/>
                  <a:gd name="T61" fmla="*/ 135 h 138"/>
                  <a:gd name="T62" fmla="*/ 3 w 170"/>
                  <a:gd name="T63" fmla="*/ 138 h 138"/>
                  <a:gd name="T64" fmla="*/ 167 w 170"/>
                  <a:gd name="T65" fmla="*/ 138 h 138"/>
                  <a:gd name="T66" fmla="*/ 170 w 170"/>
                  <a:gd name="T67" fmla="*/ 135 h 138"/>
                  <a:gd name="T68" fmla="*/ 170 w 170"/>
                  <a:gd name="T69" fmla="*/ 80 h 138"/>
                  <a:gd name="T70" fmla="*/ 169 w 170"/>
                  <a:gd name="T71" fmla="*/ 79 h 138"/>
                  <a:gd name="T72" fmla="*/ 163 w 170"/>
                  <a:gd name="T73" fmla="*/ 132 h 138"/>
                  <a:gd name="T74" fmla="*/ 7 w 170"/>
                  <a:gd name="T75" fmla="*/ 132 h 138"/>
                  <a:gd name="T76" fmla="*/ 7 w 170"/>
                  <a:gd name="T77" fmla="*/ 83 h 138"/>
                  <a:gd name="T78" fmla="*/ 55 w 170"/>
                  <a:gd name="T79" fmla="*/ 83 h 138"/>
                  <a:gd name="T80" fmla="*/ 55 w 170"/>
                  <a:gd name="T81" fmla="*/ 84 h 138"/>
                  <a:gd name="T82" fmla="*/ 85 w 170"/>
                  <a:gd name="T83" fmla="*/ 111 h 138"/>
                  <a:gd name="T84" fmla="*/ 116 w 170"/>
                  <a:gd name="T85" fmla="*/ 84 h 138"/>
                  <a:gd name="T86" fmla="*/ 116 w 170"/>
                  <a:gd name="T87" fmla="*/ 83 h 138"/>
                  <a:gd name="T88" fmla="*/ 163 w 170"/>
                  <a:gd name="T89" fmla="*/ 83 h 138"/>
                  <a:gd name="T90" fmla="*/ 163 w 170"/>
                  <a:gd name="T91" fmla="*/ 132 h 138"/>
                  <a:gd name="T92" fmla="*/ 163 w 170"/>
                  <a:gd name="T93" fmla="*/ 13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0" h="138">
                    <a:moveTo>
                      <a:pt x="169" y="79"/>
                    </a:moveTo>
                    <a:cubicBezTo>
                      <a:pt x="169" y="78"/>
                      <a:pt x="169" y="78"/>
                      <a:pt x="169" y="78"/>
                    </a:cubicBezTo>
                    <a:cubicBezTo>
                      <a:pt x="169" y="78"/>
                      <a:pt x="169" y="78"/>
                      <a:pt x="169" y="78"/>
                    </a:cubicBezTo>
                    <a:cubicBezTo>
                      <a:pt x="131" y="1"/>
                      <a:pt x="131" y="1"/>
                      <a:pt x="131" y="1"/>
                    </a:cubicBezTo>
                    <a:cubicBezTo>
                      <a:pt x="130" y="0"/>
                      <a:pt x="129" y="0"/>
                      <a:pt x="128" y="0"/>
                    </a:cubicBezTo>
                    <a:cubicBezTo>
                      <a:pt x="101" y="0"/>
                      <a:pt x="101" y="0"/>
                      <a:pt x="101" y="0"/>
                    </a:cubicBezTo>
                    <a:cubicBezTo>
                      <a:pt x="99" y="0"/>
                      <a:pt x="98" y="1"/>
                      <a:pt x="98" y="3"/>
                    </a:cubicBezTo>
                    <a:cubicBezTo>
                      <a:pt x="98" y="5"/>
                      <a:pt x="99" y="6"/>
                      <a:pt x="101" y="6"/>
                    </a:cubicBezTo>
                    <a:cubicBezTo>
                      <a:pt x="126" y="6"/>
                      <a:pt x="126" y="6"/>
                      <a:pt x="126" y="6"/>
                    </a:cubicBezTo>
                    <a:cubicBezTo>
                      <a:pt x="126" y="6"/>
                      <a:pt x="126" y="6"/>
                      <a:pt x="126" y="6"/>
                    </a:cubicBezTo>
                    <a:cubicBezTo>
                      <a:pt x="161" y="77"/>
                      <a:pt x="161" y="77"/>
                      <a:pt x="161" y="77"/>
                    </a:cubicBezTo>
                    <a:cubicBezTo>
                      <a:pt x="112" y="77"/>
                      <a:pt x="112" y="77"/>
                      <a:pt x="112" y="77"/>
                    </a:cubicBezTo>
                    <a:cubicBezTo>
                      <a:pt x="111" y="77"/>
                      <a:pt x="109" y="78"/>
                      <a:pt x="109" y="80"/>
                    </a:cubicBezTo>
                    <a:cubicBezTo>
                      <a:pt x="109" y="93"/>
                      <a:pt x="99" y="105"/>
                      <a:pt x="85" y="105"/>
                    </a:cubicBezTo>
                    <a:cubicBezTo>
                      <a:pt x="72" y="105"/>
                      <a:pt x="62" y="93"/>
                      <a:pt x="62" y="80"/>
                    </a:cubicBezTo>
                    <a:cubicBezTo>
                      <a:pt x="62" y="78"/>
                      <a:pt x="60" y="77"/>
                      <a:pt x="58" y="77"/>
                    </a:cubicBezTo>
                    <a:cubicBezTo>
                      <a:pt x="9" y="77"/>
                      <a:pt x="9" y="77"/>
                      <a:pt x="9" y="77"/>
                    </a:cubicBezTo>
                    <a:cubicBezTo>
                      <a:pt x="9" y="76"/>
                      <a:pt x="9" y="76"/>
                      <a:pt x="9" y="76"/>
                    </a:cubicBezTo>
                    <a:cubicBezTo>
                      <a:pt x="45" y="6"/>
                      <a:pt x="45" y="6"/>
                      <a:pt x="45" y="6"/>
                    </a:cubicBezTo>
                    <a:cubicBezTo>
                      <a:pt x="70" y="6"/>
                      <a:pt x="70" y="6"/>
                      <a:pt x="70" y="6"/>
                    </a:cubicBezTo>
                    <a:cubicBezTo>
                      <a:pt x="72" y="6"/>
                      <a:pt x="73" y="5"/>
                      <a:pt x="73" y="3"/>
                    </a:cubicBezTo>
                    <a:cubicBezTo>
                      <a:pt x="73" y="1"/>
                      <a:pt x="72" y="0"/>
                      <a:pt x="70" y="0"/>
                    </a:cubicBezTo>
                    <a:cubicBezTo>
                      <a:pt x="43" y="0"/>
                      <a:pt x="43" y="0"/>
                      <a:pt x="43" y="0"/>
                    </a:cubicBezTo>
                    <a:cubicBezTo>
                      <a:pt x="42" y="0"/>
                      <a:pt x="41" y="0"/>
                      <a:pt x="40" y="1"/>
                    </a:cubicBezTo>
                    <a:cubicBezTo>
                      <a:pt x="40" y="2"/>
                      <a:pt x="40" y="2"/>
                      <a:pt x="40" y="2"/>
                    </a:cubicBezTo>
                    <a:cubicBezTo>
                      <a:pt x="40" y="2"/>
                      <a:pt x="40" y="2"/>
                      <a:pt x="40" y="2"/>
                    </a:cubicBezTo>
                    <a:cubicBezTo>
                      <a:pt x="1" y="78"/>
                      <a:pt x="1" y="78"/>
                      <a:pt x="1" y="78"/>
                    </a:cubicBezTo>
                    <a:cubicBezTo>
                      <a:pt x="1" y="78"/>
                      <a:pt x="1" y="78"/>
                      <a:pt x="1" y="78"/>
                    </a:cubicBezTo>
                    <a:cubicBezTo>
                      <a:pt x="0" y="79"/>
                      <a:pt x="0" y="79"/>
                      <a:pt x="0" y="79"/>
                    </a:cubicBezTo>
                    <a:cubicBezTo>
                      <a:pt x="0" y="80"/>
                      <a:pt x="0" y="80"/>
                      <a:pt x="0" y="80"/>
                    </a:cubicBezTo>
                    <a:cubicBezTo>
                      <a:pt x="0" y="135"/>
                      <a:pt x="0" y="135"/>
                      <a:pt x="0" y="135"/>
                    </a:cubicBezTo>
                    <a:cubicBezTo>
                      <a:pt x="0" y="137"/>
                      <a:pt x="1" y="138"/>
                      <a:pt x="3" y="138"/>
                    </a:cubicBezTo>
                    <a:cubicBezTo>
                      <a:pt x="167" y="138"/>
                      <a:pt x="167" y="138"/>
                      <a:pt x="167" y="138"/>
                    </a:cubicBezTo>
                    <a:cubicBezTo>
                      <a:pt x="168" y="138"/>
                      <a:pt x="170" y="137"/>
                      <a:pt x="170" y="135"/>
                    </a:cubicBezTo>
                    <a:cubicBezTo>
                      <a:pt x="170" y="80"/>
                      <a:pt x="170" y="80"/>
                      <a:pt x="170" y="80"/>
                    </a:cubicBezTo>
                    <a:cubicBezTo>
                      <a:pt x="170" y="80"/>
                      <a:pt x="170" y="79"/>
                      <a:pt x="169" y="79"/>
                    </a:cubicBezTo>
                    <a:close/>
                    <a:moveTo>
                      <a:pt x="163" y="132"/>
                    </a:moveTo>
                    <a:cubicBezTo>
                      <a:pt x="7" y="132"/>
                      <a:pt x="7" y="132"/>
                      <a:pt x="7" y="132"/>
                    </a:cubicBezTo>
                    <a:cubicBezTo>
                      <a:pt x="7" y="83"/>
                      <a:pt x="7" y="83"/>
                      <a:pt x="7" y="83"/>
                    </a:cubicBezTo>
                    <a:cubicBezTo>
                      <a:pt x="55" y="83"/>
                      <a:pt x="55" y="83"/>
                      <a:pt x="55" y="83"/>
                    </a:cubicBezTo>
                    <a:cubicBezTo>
                      <a:pt x="55" y="84"/>
                      <a:pt x="55" y="84"/>
                      <a:pt x="55" y="84"/>
                    </a:cubicBezTo>
                    <a:cubicBezTo>
                      <a:pt x="57" y="100"/>
                      <a:pt x="70" y="111"/>
                      <a:pt x="85" y="111"/>
                    </a:cubicBezTo>
                    <a:cubicBezTo>
                      <a:pt x="101" y="111"/>
                      <a:pt x="114" y="100"/>
                      <a:pt x="116" y="84"/>
                    </a:cubicBezTo>
                    <a:cubicBezTo>
                      <a:pt x="116" y="83"/>
                      <a:pt x="116" y="83"/>
                      <a:pt x="116" y="83"/>
                    </a:cubicBezTo>
                    <a:cubicBezTo>
                      <a:pt x="163" y="83"/>
                      <a:pt x="163" y="83"/>
                      <a:pt x="163" y="83"/>
                    </a:cubicBezTo>
                    <a:cubicBezTo>
                      <a:pt x="163" y="132"/>
                      <a:pt x="163" y="132"/>
                      <a:pt x="163" y="132"/>
                    </a:cubicBezTo>
                    <a:cubicBezTo>
                      <a:pt x="163" y="132"/>
                      <a:pt x="163" y="132"/>
                      <a:pt x="16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158" name="Group 157">
            <a:extLst>
              <a:ext uri="{FF2B5EF4-FFF2-40B4-BE49-F238E27FC236}">
                <a16:creationId xmlns:a16="http://schemas.microsoft.com/office/drawing/2014/main" id="{0D5EFA08-EDD9-7A4F-C106-3D250F1F31AE}"/>
              </a:ext>
              <a:ext uri="{C183D7F6-B498-43B3-948B-1728B52AA6E4}">
                <adec:decorative xmlns:adec="http://schemas.microsoft.com/office/drawing/2017/decorative" val="1"/>
              </a:ext>
            </a:extLst>
          </p:cNvPr>
          <p:cNvGrpSpPr/>
          <p:nvPr/>
        </p:nvGrpSpPr>
        <p:grpSpPr>
          <a:xfrm>
            <a:off x="5739666" y="3748155"/>
            <a:ext cx="442209" cy="442209"/>
            <a:chOff x="5768541" y="4126128"/>
            <a:chExt cx="442209" cy="442209"/>
          </a:xfrm>
        </p:grpSpPr>
        <p:sp>
          <p:nvSpPr>
            <p:cNvPr id="11" name="Oval 10">
              <a:extLst>
                <a:ext uri="{FF2B5EF4-FFF2-40B4-BE49-F238E27FC236}">
                  <a16:creationId xmlns:a16="http://schemas.microsoft.com/office/drawing/2014/main" id="{9DAB261D-5D07-D2E2-AEF8-C2E90BE14330}"/>
                </a:ext>
              </a:extLst>
            </p:cNvPr>
            <p:cNvSpPr/>
            <p:nvPr/>
          </p:nvSpPr>
          <p:spPr>
            <a:xfrm>
              <a:off x="5768541" y="4126128"/>
              <a:ext cx="442209" cy="442209"/>
            </a:xfrm>
            <a:prstGeom prst="ellipse">
              <a:avLst/>
            </a:prstGeom>
            <a:solidFill>
              <a:schemeClr val="accent6"/>
            </a:solidFill>
            <a:ln w="349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155" name="Group 154">
              <a:extLst>
                <a:ext uri="{FF2B5EF4-FFF2-40B4-BE49-F238E27FC236}">
                  <a16:creationId xmlns:a16="http://schemas.microsoft.com/office/drawing/2014/main" id="{CC986EBD-DC8F-921A-A1A1-DB0C9BD6B641}"/>
                </a:ext>
              </a:extLst>
            </p:cNvPr>
            <p:cNvGrpSpPr>
              <a:grpSpLocks noChangeAspect="1"/>
            </p:cNvGrpSpPr>
            <p:nvPr/>
          </p:nvGrpSpPr>
          <p:grpSpPr>
            <a:xfrm>
              <a:off x="5890036" y="4258481"/>
              <a:ext cx="191619" cy="187662"/>
              <a:chOff x="2908300" y="2211388"/>
              <a:chExt cx="538162" cy="527049"/>
            </a:xfrm>
            <a:solidFill>
              <a:srgbClr val="FFFFFF"/>
            </a:solidFill>
          </p:grpSpPr>
          <p:sp>
            <p:nvSpPr>
              <p:cNvPr id="156" name="Freeform 117">
                <a:extLst>
                  <a:ext uri="{FF2B5EF4-FFF2-40B4-BE49-F238E27FC236}">
                    <a16:creationId xmlns:a16="http://schemas.microsoft.com/office/drawing/2014/main" id="{86CF8888-59C5-7913-3BA9-0A6A6262854A}"/>
                  </a:ext>
                </a:extLst>
              </p:cNvPr>
              <p:cNvSpPr>
                <a:spLocks noEditPoints="1"/>
              </p:cNvSpPr>
              <p:nvPr/>
            </p:nvSpPr>
            <p:spPr bwMode="auto">
              <a:xfrm>
                <a:off x="3032125" y="2333625"/>
                <a:ext cx="414337" cy="404812"/>
              </a:xfrm>
              <a:custGeom>
                <a:avLst/>
                <a:gdLst>
                  <a:gd name="T0" fmla="*/ 93 w 130"/>
                  <a:gd name="T1" fmla="*/ 87 h 127"/>
                  <a:gd name="T2" fmla="*/ 94 w 130"/>
                  <a:gd name="T3" fmla="*/ 87 h 127"/>
                  <a:gd name="T4" fmla="*/ 107 w 130"/>
                  <a:gd name="T5" fmla="*/ 52 h 127"/>
                  <a:gd name="T6" fmla="*/ 53 w 130"/>
                  <a:gd name="T7" fmla="*/ 0 h 127"/>
                  <a:gd name="T8" fmla="*/ 0 w 130"/>
                  <a:gd name="T9" fmla="*/ 52 h 127"/>
                  <a:gd name="T10" fmla="*/ 53 w 130"/>
                  <a:gd name="T11" fmla="*/ 105 h 127"/>
                  <a:gd name="T12" fmla="*/ 88 w 130"/>
                  <a:gd name="T13" fmla="*/ 92 h 127"/>
                  <a:gd name="T14" fmla="*/ 89 w 130"/>
                  <a:gd name="T15" fmla="*/ 92 h 127"/>
                  <a:gd name="T16" fmla="*/ 95 w 130"/>
                  <a:gd name="T17" fmla="*/ 98 h 127"/>
                  <a:gd name="T18" fmla="*/ 95 w 130"/>
                  <a:gd name="T19" fmla="*/ 98 h 127"/>
                  <a:gd name="T20" fmla="*/ 124 w 130"/>
                  <a:gd name="T21" fmla="*/ 126 h 127"/>
                  <a:gd name="T22" fmla="*/ 127 w 130"/>
                  <a:gd name="T23" fmla="*/ 127 h 127"/>
                  <a:gd name="T24" fmla="*/ 130 w 130"/>
                  <a:gd name="T25" fmla="*/ 124 h 127"/>
                  <a:gd name="T26" fmla="*/ 129 w 130"/>
                  <a:gd name="T27" fmla="*/ 122 h 127"/>
                  <a:gd name="T28" fmla="*/ 93 w 130"/>
                  <a:gd name="T29" fmla="*/ 87 h 127"/>
                  <a:gd name="T30" fmla="*/ 53 w 130"/>
                  <a:gd name="T31" fmla="*/ 98 h 127"/>
                  <a:gd name="T32" fmla="*/ 6 w 130"/>
                  <a:gd name="T33" fmla="*/ 52 h 127"/>
                  <a:gd name="T34" fmla="*/ 53 w 130"/>
                  <a:gd name="T35" fmla="*/ 6 h 127"/>
                  <a:gd name="T36" fmla="*/ 100 w 130"/>
                  <a:gd name="T37" fmla="*/ 52 h 127"/>
                  <a:gd name="T38" fmla="*/ 53 w 130"/>
                  <a:gd name="T39" fmla="*/ 9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0" h="127">
                    <a:moveTo>
                      <a:pt x="93" y="87"/>
                    </a:moveTo>
                    <a:cubicBezTo>
                      <a:pt x="94" y="87"/>
                      <a:pt x="94" y="87"/>
                      <a:pt x="94" y="87"/>
                    </a:cubicBezTo>
                    <a:cubicBezTo>
                      <a:pt x="102" y="77"/>
                      <a:pt x="107" y="65"/>
                      <a:pt x="107" y="52"/>
                    </a:cubicBezTo>
                    <a:cubicBezTo>
                      <a:pt x="107" y="23"/>
                      <a:pt x="83" y="0"/>
                      <a:pt x="53" y="0"/>
                    </a:cubicBezTo>
                    <a:cubicBezTo>
                      <a:pt x="24" y="0"/>
                      <a:pt x="0" y="23"/>
                      <a:pt x="0" y="52"/>
                    </a:cubicBezTo>
                    <a:cubicBezTo>
                      <a:pt x="0" y="81"/>
                      <a:pt x="24" y="105"/>
                      <a:pt x="53" y="105"/>
                    </a:cubicBezTo>
                    <a:cubicBezTo>
                      <a:pt x="66" y="105"/>
                      <a:pt x="79" y="100"/>
                      <a:pt x="88" y="92"/>
                    </a:cubicBezTo>
                    <a:cubicBezTo>
                      <a:pt x="89" y="92"/>
                      <a:pt x="89" y="92"/>
                      <a:pt x="89" y="92"/>
                    </a:cubicBezTo>
                    <a:cubicBezTo>
                      <a:pt x="95" y="98"/>
                      <a:pt x="95" y="98"/>
                      <a:pt x="95" y="98"/>
                    </a:cubicBezTo>
                    <a:cubicBezTo>
                      <a:pt x="95" y="98"/>
                      <a:pt x="95" y="98"/>
                      <a:pt x="95" y="98"/>
                    </a:cubicBezTo>
                    <a:cubicBezTo>
                      <a:pt x="124" y="126"/>
                      <a:pt x="124" y="126"/>
                      <a:pt x="124" y="126"/>
                    </a:cubicBezTo>
                    <a:cubicBezTo>
                      <a:pt x="125" y="127"/>
                      <a:pt x="126" y="127"/>
                      <a:pt x="127" y="127"/>
                    </a:cubicBezTo>
                    <a:cubicBezTo>
                      <a:pt x="129" y="127"/>
                      <a:pt x="130" y="126"/>
                      <a:pt x="130" y="124"/>
                    </a:cubicBezTo>
                    <a:cubicBezTo>
                      <a:pt x="130" y="123"/>
                      <a:pt x="130" y="122"/>
                      <a:pt x="129" y="122"/>
                    </a:cubicBezTo>
                    <a:lnTo>
                      <a:pt x="93" y="87"/>
                    </a:lnTo>
                    <a:close/>
                    <a:moveTo>
                      <a:pt x="53" y="98"/>
                    </a:moveTo>
                    <a:cubicBezTo>
                      <a:pt x="27" y="98"/>
                      <a:pt x="6" y="77"/>
                      <a:pt x="6" y="52"/>
                    </a:cubicBezTo>
                    <a:cubicBezTo>
                      <a:pt x="6" y="27"/>
                      <a:pt x="27" y="6"/>
                      <a:pt x="53" y="6"/>
                    </a:cubicBezTo>
                    <a:cubicBezTo>
                      <a:pt x="79" y="6"/>
                      <a:pt x="100" y="27"/>
                      <a:pt x="100" y="52"/>
                    </a:cubicBezTo>
                    <a:cubicBezTo>
                      <a:pt x="100" y="77"/>
                      <a:pt x="79" y="98"/>
                      <a:pt x="53"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57" name="Freeform 118">
                <a:extLst>
                  <a:ext uri="{FF2B5EF4-FFF2-40B4-BE49-F238E27FC236}">
                    <a16:creationId xmlns:a16="http://schemas.microsoft.com/office/drawing/2014/main" id="{B5995FFB-AA33-8625-46E6-AD59D17D92D8}"/>
                  </a:ext>
                </a:extLst>
              </p:cNvPr>
              <p:cNvSpPr>
                <a:spLocks/>
              </p:cNvSpPr>
              <p:nvPr/>
            </p:nvSpPr>
            <p:spPr bwMode="auto">
              <a:xfrm>
                <a:off x="2908300" y="2211388"/>
                <a:ext cx="538162" cy="431800"/>
              </a:xfrm>
              <a:custGeom>
                <a:avLst/>
                <a:gdLst>
                  <a:gd name="T0" fmla="*/ 154 w 169"/>
                  <a:gd name="T1" fmla="*/ 15 h 135"/>
                  <a:gd name="T2" fmla="*/ 85 w 169"/>
                  <a:gd name="T3" fmla="*/ 15 h 135"/>
                  <a:gd name="T4" fmla="*/ 69 w 169"/>
                  <a:gd name="T5" fmla="*/ 7 h 135"/>
                  <a:gd name="T6" fmla="*/ 54 w 169"/>
                  <a:gd name="T7" fmla="*/ 0 h 135"/>
                  <a:gd name="T8" fmla="*/ 15 w 169"/>
                  <a:gd name="T9" fmla="*/ 0 h 135"/>
                  <a:gd name="T10" fmla="*/ 0 w 169"/>
                  <a:gd name="T11" fmla="*/ 14 h 135"/>
                  <a:gd name="T12" fmla="*/ 0 w 169"/>
                  <a:gd name="T13" fmla="*/ 120 h 135"/>
                  <a:gd name="T14" fmla="*/ 15 w 169"/>
                  <a:gd name="T15" fmla="*/ 135 h 135"/>
                  <a:gd name="T16" fmla="*/ 50 w 169"/>
                  <a:gd name="T17" fmla="*/ 135 h 135"/>
                  <a:gd name="T18" fmla="*/ 44 w 169"/>
                  <a:gd name="T19" fmla="*/ 129 h 135"/>
                  <a:gd name="T20" fmla="*/ 15 w 169"/>
                  <a:gd name="T21" fmla="*/ 129 h 135"/>
                  <a:gd name="T22" fmla="*/ 7 w 169"/>
                  <a:gd name="T23" fmla="*/ 120 h 135"/>
                  <a:gd name="T24" fmla="*/ 7 w 169"/>
                  <a:gd name="T25" fmla="*/ 44 h 135"/>
                  <a:gd name="T26" fmla="*/ 51 w 169"/>
                  <a:gd name="T27" fmla="*/ 44 h 135"/>
                  <a:gd name="T28" fmla="*/ 60 w 169"/>
                  <a:gd name="T29" fmla="*/ 38 h 135"/>
                  <a:gd name="T30" fmla="*/ 7 w 169"/>
                  <a:gd name="T31" fmla="*/ 38 h 135"/>
                  <a:gd name="T32" fmla="*/ 7 w 169"/>
                  <a:gd name="T33" fmla="*/ 14 h 135"/>
                  <a:gd name="T34" fmla="*/ 15 w 169"/>
                  <a:gd name="T35" fmla="*/ 6 h 135"/>
                  <a:gd name="T36" fmla="*/ 54 w 169"/>
                  <a:gd name="T37" fmla="*/ 6 h 135"/>
                  <a:gd name="T38" fmla="*/ 65 w 169"/>
                  <a:gd name="T39" fmla="*/ 13 h 135"/>
                  <a:gd name="T40" fmla="*/ 85 w 169"/>
                  <a:gd name="T41" fmla="*/ 21 h 135"/>
                  <a:gd name="T42" fmla="*/ 154 w 169"/>
                  <a:gd name="T43" fmla="*/ 21 h 135"/>
                  <a:gd name="T44" fmla="*/ 162 w 169"/>
                  <a:gd name="T45" fmla="*/ 30 h 135"/>
                  <a:gd name="T46" fmla="*/ 162 w 169"/>
                  <a:gd name="T47" fmla="*/ 38 h 135"/>
                  <a:gd name="T48" fmla="*/ 124 w 169"/>
                  <a:gd name="T49" fmla="*/ 38 h 135"/>
                  <a:gd name="T50" fmla="*/ 133 w 169"/>
                  <a:gd name="T51" fmla="*/ 44 h 135"/>
                  <a:gd name="T52" fmla="*/ 162 w 169"/>
                  <a:gd name="T53" fmla="*/ 44 h 135"/>
                  <a:gd name="T54" fmla="*/ 162 w 169"/>
                  <a:gd name="T55" fmla="*/ 120 h 135"/>
                  <a:gd name="T56" fmla="*/ 154 w 169"/>
                  <a:gd name="T57" fmla="*/ 129 h 135"/>
                  <a:gd name="T58" fmla="*/ 148 w 169"/>
                  <a:gd name="T59" fmla="*/ 129 h 135"/>
                  <a:gd name="T60" fmla="*/ 155 w 169"/>
                  <a:gd name="T61" fmla="*/ 135 h 135"/>
                  <a:gd name="T62" fmla="*/ 169 w 169"/>
                  <a:gd name="T63" fmla="*/ 120 h 135"/>
                  <a:gd name="T64" fmla="*/ 169 w 169"/>
                  <a:gd name="T65" fmla="*/ 30 h 135"/>
                  <a:gd name="T66" fmla="*/ 154 w 169"/>
                  <a:gd name="T67" fmla="*/ 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9" h="135">
                    <a:moveTo>
                      <a:pt x="154" y="15"/>
                    </a:moveTo>
                    <a:cubicBezTo>
                      <a:pt x="85" y="15"/>
                      <a:pt x="85" y="15"/>
                      <a:pt x="85" y="15"/>
                    </a:cubicBezTo>
                    <a:cubicBezTo>
                      <a:pt x="77" y="15"/>
                      <a:pt x="73" y="11"/>
                      <a:pt x="69" y="7"/>
                    </a:cubicBezTo>
                    <a:cubicBezTo>
                      <a:pt x="65" y="3"/>
                      <a:pt x="61" y="0"/>
                      <a:pt x="54" y="0"/>
                    </a:cubicBezTo>
                    <a:cubicBezTo>
                      <a:pt x="15" y="0"/>
                      <a:pt x="15" y="0"/>
                      <a:pt x="15" y="0"/>
                    </a:cubicBezTo>
                    <a:cubicBezTo>
                      <a:pt x="7" y="0"/>
                      <a:pt x="0" y="6"/>
                      <a:pt x="0" y="14"/>
                    </a:cubicBezTo>
                    <a:cubicBezTo>
                      <a:pt x="0" y="120"/>
                      <a:pt x="0" y="120"/>
                      <a:pt x="0" y="120"/>
                    </a:cubicBezTo>
                    <a:cubicBezTo>
                      <a:pt x="0" y="129"/>
                      <a:pt x="7" y="135"/>
                      <a:pt x="15" y="135"/>
                    </a:cubicBezTo>
                    <a:cubicBezTo>
                      <a:pt x="50" y="135"/>
                      <a:pt x="50" y="135"/>
                      <a:pt x="50" y="135"/>
                    </a:cubicBezTo>
                    <a:cubicBezTo>
                      <a:pt x="48" y="133"/>
                      <a:pt x="46" y="131"/>
                      <a:pt x="44" y="129"/>
                    </a:cubicBezTo>
                    <a:cubicBezTo>
                      <a:pt x="15" y="129"/>
                      <a:pt x="15" y="129"/>
                      <a:pt x="15" y="129"/>
                    </a:cubicBezTo>
                    <a:cubicBezTo>
                      <a:pt x="10" y="129"/>
                      <a:pt x="7" y="125"/>
                      <a:pt x="7" y="120"/>
                    </a:cubicBezTo>
                    <a:cubicBezTo>
                      <a:pt x="7" y="44"/>
                      <a:pt x="7" y="44"/>
                      <a:pt x="7" y="44"/>
                    </a:cubicBezTo>
                    <a:cubicBezTo>
                      <a:pt x="51" y="44"/>
                      <a:pt x="51" y="44"/>
                      <a:pt x="51" y="44"/>
                    </a:cubicBezTo>
                    <a:cubicBezTo>
                      <a:pt x="54" y="42"/>
                      <a:pt x="57" y="39"/>
                      <a:pt x="60" y="38"/>
                    </a:cubicBezTo>
                    <a:cubicBezTo>
                      <a:pt x="7" y="38"/>
                      <a:pt x="7" y="38"/>
                      <a:pt x="7" y="38"/>
                    </a:cubicBezTo>
                    <a:cubicBezTo>
                      <a:pt x="7" y="14"/>
                      <a:pt x="7" y="14"/>
                      <a:pt x="7" y="14"/>
                    </a:cubicBezTo>
                    <a:cubicBezTo>
                      <a:pt x="7" y="10"/>
                      <a:pt x="10" y="6"/>
                      <a:pt x="15" y="6"/>
                    </a:cubicBezTo>
                    <a:cubicBezTo>
                      <a:pt x="54" y="6"/>
                      <a:pt x="54" y="6"/>
                      <a:pt x="54" y="6"/>
                    </a:cubicBezTo>
                    <a:cubicBezTo>
                      <a:pt x="59" y="6"/>
                      <a:pt x="62" y="9"/>
                      <a:pt x="65" y="13"/>
                    </a:cubicBezTo>
                    <a:cubicBezTo>
                      <a:pt x="69" y="17"/>
                      <a:pt x="74" y="21"/>
                      <a:pt x="85" y="21"/>
                    </a:cubicBezTo>
                    <a:cubicBezTo>
                      <a:pt x="154" y="21"/>
                      <a:pt x="154" y="21"/>
                      <a:pt x="154" y="21"/>
                    </a:cubicBezTo>
                    <a:cubicBezTo>
                      <a:pt x="159" y="21"/>
                      <a:pt x="162" y="25"/>
                      <a:pt x="162" y="30"/>
                    </a:cubicBezTo>
                    <a:cubicBezTo>
                      <a:pt x="162" y="38"/>
                      <a:pt x="162" y="38"/>
                      <a:pt x="162" y="38"/>
                    </a:cubicBezTo>
                    <a:cubicBezTo>
                      <a:pt x="124" y="38"/>
                      <a:pt x="124" y="38"/>
                      <a:pt x="124" y="38"/>
                    </a:cubicBezTo>
                    <a:cubicBezTo>
                      <a:pt x="127" y="39"/>
                      <a:pt x="130" y="42"/>
                      <a:pt x="133" y="44"/>
                    </a:cubicBezTo>
                    <a:cubicBezTo>
                      <a:pt x="162" y="44"/>
                      <a:pt x="162" y="44"/>
                      <a:pt x="162" y="44"/>
                    </a:cubicBezTo>
                    <a:cubicBezTo>
                      <a:pt x="162" y="120"/>
                      <a:pt x="162" y="120"/>
                      <a:pt x="162" y="120"/>
                    </a:cubicBezTo>
                    <a:cubicBezTo>
                      <a:pt x="162" y="125"/>
                      <a:pt x="159" y="129"/>
                      <a:pt x="154" y="129"/>
                    </a:cubicBezTo>
                    <a:cubicBezTo>
                      <a:pt x="148" y="129"/>
                      <a:pt x="148" y="129"/>
                      <a:pt x="148" y="129"/>
                    </a:cubicBezTo>
                    <a:cubicBezTo>
                      <a:pt x="155" y="135"/>
                      <a:pt x="155" y="135"/>
                      <a:pt x="155" y="135"/>
                    </a:cubicBezTo>
                    <a:cubicBezTo>
                      <a:pt x="163" y="135"/>
                      <a:pt x="169" y="128"/>
                      <a:pt x="169" y="120"/>
                    </a:cubicBezTo>
                    <a:cubicBezTo>
                      <a:pt x="169" y="30"/>
                      <a:pt x="169" y="30"/>
                      <a:pt x="169" y="30"/>
                    </a:cubicBezTo>
                    <a:cubicBezTo>
                      <a:pt x="169" y="21"/>
                      <a:pt x="162" y="15"/>
                      <a:pt x="15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183" name="Group 182">
            <a:extLst>
              <a:ext uri="{FF2B5EF4-FFF2-40B4-BE49-F238E27FC236}">
                <a16:creationId xmlns:a16="http://schemas.microsoft.com/office/drawing/2014/main" id="{7ED90E31-D698-7203-8951-1D87922334E0}"/>
              </a:ext>
              <a:ext uri="{C183D7F6-B498-43B3-948B-1728B52AA6E4}">
                <adec:decorative xmlns:adec="http://schemas.microsoft.com/office/drawing/2017/decorative" val="1"/>
              </a:ext>
            </a:extLst>
          </p:cNvPr>
          <p:cNvGrpSpPr/>
          <p:nvPr/>
        </p:nvGrpSpPr>
        <p:grpSpPr>
          <a:xfrm>
            <a:off x="6757077" y="3748155"/>
            <a:ext cx="442209" cy="442209"/>
            <a:chOff x="6785952" y="4126128"/>
            <a:chExt cx="442209" cy="442209"/>
          </a:xfrm>
        </p:grpSpPr>
        <p:sp>
          <p:nvSpPr>
            <p:cNvPr id="96" name="Oval 95">
              <a:extLst>
                <a:ext uri="{FF2B5EF4-FFF2-40B4-BE49-F238E27FC236}">
                  <a16:creationId xmlns:a16="http://schemas.microsoft.com/office/drawing/2014/main" id="{6D597BE7-4789-B6D9-5D32-83D4DE345201}"/>
                </a:ext>
              </a:extLst>
            </p:cNvPr>
            <p:cNvSpPr/>
            <p:nvPr/>
          </p:nvSpPr>
          <p:spPr>
            <a:xfrm>
              <a:off x="6785952" y="4126128"/>
              <a:ext cx="442209" cy="442209"/>
            </a:xfrm>
            <a:prstGeom prst="ellipse">
              <a:avLst/>
            </a:prstGeom>
            <a:solidFill>
              <a:schemeClr val="accent6"/>
            </a:solidFill>
            <a:ln w="349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159" name="Group 158">
              <a:extLst>
                <a:ext uri="{FF2B5EF4-FFF2-40B4-BE49-F238E27FC236}">
                  <a16:creationId xmlns:a16="http://schemas.microsoft.com/office/drawing/2014/main" id="{26B48928-C4A1-0566-949F-DC52A14EA431}"/>
                </a:ext>
              </a:extLst>
            </p:cNvPr>
            <p:cNvGrpSpPr>
              <a:grpSpLocks noChangeAspect="1"/>
            </p:cNvGrpSpPr>
            <p:nvPr/>
          </p:nvGrpSpPr>
          <p:grpSpPr>
            <a:xfrm>
              <a:off x="6887149" y="4248839"/>
              <a:ext cx="256889" cy="187771"/>
              <a:chOff x="7056438" y="3332163"/>
              <a:chExt cx="708025" cy="517525"/>
            </a:xfrm>
            <a:solidFill>
              <a:srgbClr val="FFFFFF"/>
            </a:solidFill>
          </p:grpSpPr>
          <p:sp>
            <p:nvSpPr>
              <p:cNvPr id="160" name="Freeform 9">
                <a:extLst>
                  <a:ext uri="{FF2B5EF4-FFF2-40B4-BE49-F238E27FC236}">
                    <a16:creationId xmlns:a16="http://schemas.microsoft.com/office/drawing/2014/main" id="{E9F0C885-A8A7-677E-6C43-F84F49DEC476}"/>
                  </a:ext>
                </a:extLst>
              </p:cNvPr>
              <p:cNvSpPr>
                <a:spLocks noEditPoints="1"/>
              </p:cNvSpPr>
              <p:nvPr/>
            </p:nvSpPr>
            <p:spPr bwMode="auto">
              <a:xfrm>
                <a:off x="7056438" y="3332163"/>
                <a:ext cx="433388" cy="517525"/>
              </a:xfrm>
              <a:custGeom>
                <a:avLst/>
                <a:gdLst>
                  <a:gd name="T0" fmla="*/ 109 w 142"/>
                  <a:gd name="T1" fmla="*/ 130 h 170"/>
                  <a:gd name="T2" fmla="*/ 100 w 142"/>
                  <a:gd name="T3" fmla="*/ 105 h 170"/>
                  <a:gd name="T4" fmla="*/ 108 w 142"/>
                  <a:gd name="T5" fmla="*/ 88 h 170"/>
                  <a:gd name="T6" fmla="*/ 108 w 142"/>
                  <a:gd name="T7" fmla="*/ 88 h 170"/>
                  <a:gd name="T8" fmla="*/ 118 w 142"/>
                  <a:gd name="T9" fmla="*/ 55 h 170"/>
                  <a:gd name="T10" fmla="*/ 116 w 142"/>
                  <a:gd name="T11" fmla="*/ 53 h 170"/>
                  <a:gd name="T12" fmla="*/ 109 w 142"/>
                  <a:gd name="T13" fmla="*/ 19 h 170"/>
                  <a:gd name="T14" fmla="*/ 32 w 142"/>
                  <a:gd name="T15" fmla="*/ 19 h 170"/>
                  <a:gd name="T16" fmla="*/ 26 w 142"/>
                  <a:gd name="T17" fmla="*/ 53 h 170"/>
                  <a:gd name="T18" fmla="*/ 24 w 142"/>
                  <a:gd name="T19" fmla="*/ 55 h 170"/>
                  <a:gd name="T20" fmla="*/ 33 w 142"/>
                  <a:gd name="T21" fmla="*/ 88 h 170"/>
                  <a:gd name="T22" fmla="*/ 34 w 142"/>
                  <a:gd name="T23" fmla="*/ 88 h 170"/>
                  <a:gd name="T24" fmla="*/ 41 w 142"/>
                  <a:gd name="T25" fmla="*/ 105 h 170"/>
                  <a:gd name="T26" fmla="*/ 30 w 142"/>
                  <a:gd name="T27" fmla="*/ 131 h 170"/>
                  <a:gd name="T28" fmla="*/ 4 w 142"/>
                  <a:gd name="T29" fmla="*/ 170 h 170"/>
                  <a:gd name="T30" fmla="*/ 142 w 142"/>
                  <a:gd name="T31" fmla="*/ 165 h 170"/>
                  <a:gd name="T32" fmla="*/ 135 w 142"/>
                  <a:gd name="T33" fmla="*/ 163 h 170"/>
                  <a:gd name="T34" fmla="*/ 8 w 142"/>
                  <a:gd name="T35" fmla="*/ 162 h 170"/>
                  <a:gd name="T36" fmla="*/ 48 w 142"/>
                  <a:gd name="T37" fmla="*/ 128 h 170"/>
                  <a:gd name="T38" fmla="*/ 47 w 142"/>
                  <a:gd name="T39" fmla="*/ 102 h 170"/>
                  <a:gd name="T40" fmla="*/ 36 w 142"/>
                  <a:gd name="T41" fmla="*/ 81 h 170"/>
                  <a:gd name="T42" fmla="*/ 29 w 142"/>
                  <a:gd name="T43" fmla="*/ 59 h 170"/>
                  <a:gd name="T44" fmla="*/ 33 w 142"/>
                  <a:gd name="T45" fmla="*/ 57 h 170"/>
                  <a:gd name="T46" fmla="*/ 38 w 142"/>
                  <a:gd name="T47" fmla="*/ 23 h 170"/>
                  <a:gd name="T48" fmla="*/ 104 w 142"/>
                  <a:gd name="T49" fmla="*/ 23 h 170"/>
                  <a:gd name="T50" fmla="*/ 109 w 142"/>
                  <a:gd name="T51" fmla="*/ 57 h 170"/>
                  <a:gd name="T52" fmla="*/ 112 w 142"/>
                  <a:gd name="T53" fmla="*/ 59 h 170"/>
                  <a:gd name="T54" fmla="*/ 105 w 142"/>
                  <a:gd name="T55" fmla="*/ 81 h 170"/>
                  <a:gd name="T56" fmla="*/ 94 w 142"/>
                  <a:gd name="T57" fmla="*/ 102 h 170"/>
                  <a:gd name="T58" fmla="*/ 94 w 142"/>
                  <a:gd name="T59" fmla="*/ 128 h 170"/>
                  <a:gd name="T60" fmla="*/ 106 w 142"/>
                  <a:gd name="T61" fmla="*/ 137 h 170"/>
                  <a:gd name="T62" fmla="*/ 135 w 142"/>
                  <a:gd name="T63" fmla="*/ 16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2" h="170">
                    <a:moveTo>
                      <a:pt x="110" y="131"/>
                    </a:moveTo>
                    <a:cubicBezTo>
                      <a:pt x="109" y="130"/>
                      <a:pt x="109" y="130"/>
                      <a:pt x="109" y="130"/>
                    </a:cubicBezTo>
                    <a:cubicBezTo>
                      <a:pt x="105" y="129"/>
                      <a:pt x="101" y="127"/>
                      <a:pt x="100" y="125"/>
                    </a:cubicBezTo>
                    <a:cubicBezTo>
                      <a:pt x="98" y="120"/>
                      <a:pt x="100" y="107"/>
                      <a:pt x="100" y="105"/>
                    </a:cubicBezTo>
                    <a:cubicBezTo>
                      <a:pt x="100" y="105"/>
                      <a:pt x="100" y="105"/>
                      <a:pt x="100" y="105"/>
                    </a:cubicBezTo>
                    <a:cubicBezTo>
                      <a:pt x="103" y="100"/>
                      <a:pt x="106" y="94"/>
                      <a:pt x="108" y="88"/>
                    </a:cubicBezTo>
                    <a:cubicBezTo>
                      <a:pt x="108" y="88"/>
                      <a:pt x="108" y="88"/>
                      <a:pt x="108" y="88"/>
                    </a:cubicBezTo>
                    <a:cubicBezTo>
                      <a:pt x="108" y="88"/>
                      <a:pt x="108" y="88"/>
                      <a:pt x="108" y="88"/>
                    </a:cubicBezTo>
                    <a:cubicBezTo>
                      <a:pt x="114" y="86"/>
                      <a:pt x="118" y="77"/>
                      <a:pt x="120" y="70"/>
                    </a:cubicBezTo>
                    <a:cubicBezTo>
                      <a:pt x="121" y="63"/>
                      <a:pt x="120" y="58"/>
                      <a:pt x="118" y="55"/>
                    </a:cubicBezTo>
                    <a:cubicBezTo>
                      <a:pt x="117" y="54"/>
                      <a:pt x="117" y="53"/>
                      <a:pt x="116" y="53"/>
                    </a:cubicBezTo>
                    <a:cubicBezTo>
                      <a:pt x="116" y="53"/>
                      <a:pt x="116" y="53"/>
                      <a:pt x="116" y="53"/>
                    </a:cubicBezTo>
                    <a:cubicBezTo>
                      <a:pt x="116" y="53"/>
                      <a:pt x="116" y="53"/>
                      <a:pt x="116" y="53"/>
                    </a:cubicBezTo>
                    <a:cubicBezTo>
                      <a:pt x="118" y="41"/>
                      <a:pt x="116" y="28"/>
                      <a:pt x="109" y="19"/>
                    </a:cubicBezTo>
                    <a:cubicBezTo>
                      <a:pt x="101" y="7"/>
                      <a:pt x="87" y="0"/>
                      <a:pt x="71" y="0"/>
                    </a:cubicBezTo>
                    <a:cubicBezTo>
                      <a:pt x="54" y="0"/>
                      <a:pt x="40" y="7"/>
                      <a:pt x="32" y="19"/>
                    </a:cubicBezTo>
                    <a:cubicBezTo>
                      <a:pt x="25" y="28"/>
                      <a:pt x="23" y="41"/>
                      <a:pt x="26" y="53"/>
                    </a:cubicBezTo>
                    <a:cubicBezTo>
                      <a:pt x="26" y="53"/>
                      <a:pt x="26" y="53"/>
                      <a:pt x="26" y="53"/>
                    </a:cubicBezTo>
                    <a:cubicBezTo>
                      <a:pt x="25" y="53"/>
                      <a:pt x="25" y="53"/>
                      <a:pt x="25" y="53"/>
                    </a:cubicBezTo>
                    <a:cubicBezTo>
                      <a:pt x="25" y="53"/>
                      <a:pt x="24" y="54"/>
                      <a:pt x="24" y="55"/>
                    </a:cubicBezTo>
                    <a:cubicBezTo>
                      <a:pt x="21" y="58"/>
                      <a:pt x="20" y="63"/>
                      <a:pt x="22" y="70"/>
                    </a:cubicBezTo>
                    <a:cubicBezTo>
                      <a:pt x="23" y="77"/>
                      <a:pt x="27" y="86"/>
                      <a:pt x="33" y="88"/>
                    </a:cubicBezTo>
                    <a:cubicBezTo>
                      <a:pt x="34" y="88"/>
                      <a:pt x="34" y="88"/>
                      <a:pt x="34" y="88"/>
                    </a:cubicBezTo>
                    <a:cubicBezTo>
                      <a:pt x="34" y="88"/>
                      <a:pt x="34" y="88"/>
                      <a:pt x="34" y="88"/>
                    </a:cubicBezTo>
                    <a:cubicBezTo>
                      <a:pt x="36" y="94"/>
                      <a:pt x="38" y="100"/>
                      <a:pt x="41" y="105"/>
                    </a:cubicBezTo>
                    <a:cubicBezTo>
                      <a:pt x="41" y="105"/>
                      <a:pt x="41" y="105"/>
                      <a:pt x="41" y="105"/>
                    </a:cubicBezTo>
                    <a:cubicBezTo>
                      <a:pt x="42" y="110"/>
                      <a:pt x="43" y="121"/>
                      <a:pt x="41" y="125"/>
                    </a:cubicBezTo>
                    <a:cubicBezTo>
                      <a:pt x="40" y="127"/>
                      <a:pt x="36" y="129"/>
                      <a:pt x="30" y="131"/>
                    </a:cubicBezTo>
                    <a:cubicBezTo>
                      <a:pt x="10" y="139"/>
                      <a:pt x="0" y="150"/>
                      <a:pt x="0" y="165"/>
                    </a:cubicBezTo>
                    <a:cubicBezTo>
                      <a:pt x="0" y="166"/>
                      <a:pt x="0" y="170"/>
                      <a:pt x="4" y="170"/>
                    </a:cubicBezTo>
                    <a:cubicBezTo>
                      <a:pt x="138" y="170"/>
                      <a:pt x="138" y="170"/>
                      <a:pt x="138" y="170"/>
                    </a:cubicBezTo>
                    <a:cubicBezTo>
                      <a:pt x="142" y="170"/>
                      <a:pt x="142" y="166"/>
                      <a:pt x="142" y="165"/>
                    </a:cubicBezTo>
                    <a:cubicBezTo>
                      <a:pt x="142" y="143"/>
                      <a:pt x="121" y="135"/>
                      <a:pt x="110" y="131"/>
                    </a:cubicBezTo>
                    <a:close/>
                    <a:moveTo>
                      <a:pt x="135" y="163"/>
                    </a:moveTo>
                    <a:cubicBezTo>
                      <a:pt x="8" y="163"/>
                      <a:pt x="8" y="163"/>
                      <a:pt x="8" y="163"/>
                    </a:cubicBezTo>
                    <a:cubicBezTo>
                      <a:pt x="8" y="162"/>
                      <a:pt x="8" y="162"/>
                      <a:pt x="8" y="162"/>
                    </a:cubicBezTo>
                    <a:cubicBezTo>
                      <a:pt x="8" y="153"/>
                      <a:pt x="16" y="145"/>
                      <a:pt x="33" y="138"/>
                    </a:cubicBezTo>
                    <a:cubicBezTo>
                      <a:pt x="40" y="135"/>
                      <a:pt x="46" y="133"/>
                      <a:pt x="48" y="128"/>
                    </a:cubicBezTo>
                    <a:cubicBezTo>
                      <a:pt x="51" y="120"/>
                      <a:pt x="48" y="106"/>
                      <a:pt x="48" y="103"/>
                    </a:cubicBezTo>
                    <a:cubicBezTo>
                      <a:pt x="48" y="103"/>
                      <a:pt x="48" y="102"/>
                      <a:pt x="47" y="102"/>
                    </a:cubicBezTo>
                    <a:cubicBezTo>
                      <a:pt x="44" y="97"/>
                      <a:pt x="42" y="91"/>
                      <a:pt x="40" y="84"/>
                    </a:cubicBezTo>
                    <a:cubicBezTo>
                      <a:pt x="39" y="82"/>
                      <a:pt x="38" y="81"/>
                      <a:pt x="36" y="81"/>
                    </a:cubicBezTo>
                    <a:cubicBezTo>
                      <a:pt x="34" y="81"/>
                      <a:pt x="30" y="76"/>
                      <a:pt x="29" y="69"/>
                    </a:cubicBezTo>
                    <a:cubicBezTo>
                      <a:pt x="27" y="62"/>
                      <a:pt x="29" y="60"/>
                      <a:pt x="29" y="59"/>
                    </a:cubicBezTo>
                    <a:cubicBezTo>
                      <a:pt x="29" y="59"/>
                      <a:pt x="29" y="59"/>
                      <a:pt x="30" y="59"/>
                    </a:cubicBezTo>
                    <a:cubicBezTo>
                      <a:pt x="31" y="59"/>
                      <a:pt x="32" y="58"/>
                      <a:pt x="33" y="57"/>
                    </a:cubicBezTo>
                    <a:cubicBezTo>
                      <a:pt x="33" y="56"/>
                      <a:pt x="34" y="55"/>
                      <a:pt x="33" y="54"/>
                    </a:cubicBezTo>
                    <a:cubicBezTo>
                      <a:pt x="30" y="43"/>
                      <a:pt x="31" y="32"/>
                      <a:pt x="38" y="23"/>
                    </a:cubicBezTo>
                    <a:cubicBezTo>
                      <a:pt x="45" y="13"/>
                      <a:pt x="57" y="7"/>
                      <a:pt x="71" y="7"/>
                    </a:cubicBezTo>
                    <a:cubicBezTo>
                      <a:pt x="85" y="7"/>
                      <a:pt x="97" y="13"/>
                      <a:pt x="104" y="23"/>
                    </a:cubicBezTo>
                    <a:cubicBezTo>
                      <a:pt x="110" y="32"/>
                      <a:pt x="112" y="43"/>
                      <a:pt x="108" y="54"/>
                    </a:cubicBezTo>
                    <a:cubicBezTo>
                      <a:pt x="108" y="55"/>
                      <a:pt x="108" y="56"/>
                      <a:pt x="109" y="57"/>
                    </a:cubicBezTo>
                    <a:cubicBezTo>
                      <a:pt x="109" y="58"/>
                      <a:pt x="110" y="59"/>
                      <a:pt x="111" y="59"/>
                    </a:cubicBezTo>
                    <a:cubicBezTo>
                      <a:pt x="112" y="59"/>
                      <a:pt x="112" y="59"/>
                      <a:pt x="112" y="59"/>
                    </a:cubicBezTo>
                    <a:cubicBezTo>
                      <a:pt x="113" y="60"/>
                      <a:pt x="114" y="62"/>
                      <a:pt x="113" y="69"/>
                    </a:cubicBezTo>
                    <a:cubicBezTo>
                      <a:pt x="112" y="76"/>
                      <a:pt x="108" y="81"/>
                      <a:pt x="105" y="81"/>
                    </a:cubicBezTo>
                    <a:cubicBezTo>
                      <a:pt x="104" y="81"/>
                      <a:pt x="102" y="82"/>
                      <a:pt x="102" y="84"/>
                    </a:cubicBezTo>
                    <a:cubicBezTo>
                      <a:pt x="100" y="91"/>
                      <a:pt x="97" y="97"/>
                      <a:pt x="94" y="102"/>
                    </a:cubicBezTo>
                    <a:cubicBezTo>
                      <a:pt x="94" y="102"/>
                      <a:pt x="94" y="103"/>
                      <a:pt x="94" y="103"/>
                    </a:cubicBezTo>
                    <a:cubicBezTo>
                      <a:pt x="93" y="106"/>
                      <a:pt x="91" y="120"/>
                      <a:pt x="94" y="128"/>
                    </a:cubicBezTo>
                    <a:cubicBezTo>
                      <a:pt x="95" y="132"/>
                      <a:pt x="100" y="134"/>
                      <a:pt x="106" y="137"/>
                    </a:cubicBezTo>
                    <a:cubicBezTo>
                      <a:pt x="106" y="137"/>
                      <a:pt x="106" y="137"/>
                      <a:pt x="106" y="137"/>
                    </a:cubicBezTo>
                    <a:cubicBezTo>
                      <a:pt x="123" y="142"/>
                      <a:pt x="132" y="150"/>
                      <a:pt x="135" y="162"/>
                    </a:cubicBezTo>
                    <a:lnTo>
                      <a:pt x="135"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1" name="Freeform 10">
                <a:extLst>
                  <a:ext uri="{FF2B5EF4-FFF2-40B4-BE49-F238E27FC236}">
                    <a16:creationId xmlns:a16="http://schemas.microsoft.com/office/drawing/2014/main" id="{274D134A-6AAA-40C0-C74C-FD672C8585BF}"/>
                  </a:ext>
                </a:extLst>
              </p:cNvPr>
              <p:cNvSpPr>
                <a:spLocks/>
              </p:cNvSpPr>
              <p:nvPr/>
            </p:nvSpPr>
            <p:spPr bwMode="auto">
              <a:xfrm>
                <a:off x="7439025" y="3376613"/>
                <a:ext cx="325438" cy="452438"/>
              </a:xfrm>
              <a:custGeom>
                <a:avLst/>
                <a:gdLst>
                  <a:gd name="T0" fmla="*/ 78 w 107"/>
                  <a:gd name="T1" fmla="*/ 113 h 148"/>
                  <a:gd name="T2" fmla="*/ 70 w 107"/>
                  <a:gd name="T3" fmla="*/ 92 h 148"/>
                  <a:gd name="T4" fmla="*/ 77 w 107"/>
                  <a:gd name="T5" fmla="*/ 77 h 148"/>
                  <a:gd name="T6" fmla="*/ 87 w 107"/>
                  <a:gd name="T7" fmla="*/ 61 h 148"/>
                  <a:gd name="T8" fmla="*/ 84 w 107"/>
                  <a:gd name="T9" fmla="*/ 46 h 148"/>
                  <a:gd name="T10" fmla="*/ 84 w 107"/>
                  <a:gd name="T11" fmla="*/ 46 h 148"/>
                  <a:gd name="T12" fmla="*/ 44 w 107"/>
                  <a:gd name="T13" fmla="*/ 0 h 148"/>
                  <a:gd name="T14" fmla="*/ 5 w 107"/>
                  <a:gd name="T15" fmla="*/ 46 h 148"/>
                  <a:gd name="T16" fmla="*/ 5 w 107"/>
                  <a:gd name="T17" fmla="*/ 46 h 148"/>
                  <a:gd name="T18" fmla="*/ 1 w 107"/>
                  <a:gd name="T19" fmla="*/ 61 h 148"/>
                  <a:gd name="T20" fmla="*/ 12 w 107"/>
                  <a:gd name="T21" fmla="*/ 77 h 148"/>
                  <a:gd name="T22" fmla="*/ 18 w 107"/>
                  <a:gd name="T23" fmla="*/ 92 h 148"/>
                  <a:gd name="T24" fmla="*/ 8 w 107"/>
                  <a:gd name="T25" fmla="*/ 114 h 148"/>
                  <a:gd name="T26" fmla="*/ 2 w 107"/>
                  <a:gd name="T27" fmla="*/ 117 h 148"/>
                  <a:gd name="T28" fmla="*/ 9 w 107"/>
                  <a:gd name="T29" fmla="*/ 121 h 148"/>
                  <a:gd name="T30" fmla="*/ 10 w 107"/>
                  <a:gd name="T31" fmla="*/ 120 h 148"/>
                  <a:gd name="T32" fmla="*/ 24 w 107"/>
                  <a:gd name="T33" fmla="*/ 111 h 148"/>
                  <a:gd name="T34" fmla="*/ 24 w 107"/>
                  <a:gd name="T35" fmla="*/ 89 h 148"/>
                  <a:gd name="T36" fmla="*/ 14 w 107"/>
                  <a:gd name="T37" fmla="*/ 71 h 148"/>
                  <a:gd name="T38" fmla="*/ 8 w 107"/>
                  <a:gd name="T39" fmla="*/ 52 h 148"/>
                  <a:gd name="T40" fmla="*/ 11 w 107"/>
                  <a:gd name="T41" fmla="*/ 50 h 148"/>
                  <a:gd name="T42" fmla="*/ 16 w 107"/>
                  <a:gd name="T43" fmla="*/ 20 h 148"/>
                  <a:gd name="T44" fmla="*/ 73 w 107"/>
                  <a:gd name="T45" fmla="*/ 20 h 148"/>
                  <a:gd name="T46" fmla="*/ 77 w 107"/>
                  <a:gd name="T47" fmla="*/ 50 h 148"/>
                  <a:gd name="T48" fmla="*/ 80 w 107"/>
                  <a:gd name="T49" fmla="*/ 52 h 148"/>
                  <a:gd name="T50" fmla="*/ 74 w 107"/>
                  <a:gd name="T51" fmla="*/ 71 h 148"/>
                  <a:gd name="T52" fmla="*/ 64 w 107"/>
                  <a:gd name="T53" fmla="*/ 89 h 148"/>
                  <a:gd name="T54" fmla="*/ 64 w 107"/>
                  <a:gd name="T55" fmla="*/ 111 h 148"/>
                  <a:gd name="T56" fmla="*/ 75 w 107"/>
                  <a:gd name="T57" fmla="*/ 119 h 148"/>
                  <a:gd name="T58" fmla="*/ 99 w 107"/>
                  <a:gd name="T59" fmla="*/ 141 h 148"/>
                  <a:gd name="T60" fmla="*/ 25 w 107"/>
                  <a:gd name="T61" fmla="*/ 148 h 148"/>
                  <a:gd name="T62" fmla="*/ 107 w 107"/>
                  <a:gd name="T63" fmla="*/ 144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7" h="148">
                    <a:moveTo>
                      <a:pt x="79" y="113"/>
                    </a:moveTo>
                    <a:cubicBezTo>
                      <a:pt x="78" y="113"/>
                      <a:pt x="78" y="113"/>
                      <a:pt x="78" y="113"/>
                    </a:cubicBezTo>
                    <a:cubicBezTo>
                      <a:pt x="74" y="112"/>
                      <a:pt x="71" y="110"/>
                      <a:pt x="70" y="109"/>
                    </a:cubicBezTo>
                    <a:cubicBezTo>
                      <a:pt x="68" y="104"/>
                      <a:pt x="70" y="93"/>
                      <a:pt x="70" y="92"/>
                    </a:cubicBezTo>
                    <a:cubicBezTo>
                      <a:pt x="70" y="91"/>
                      <a:pt x="70" y="91"/>
                      <a:pt x="70" y="91"/>
                    </a:cubicBezTo>
                    <a:cubicBezTo>
                      <a:pt x="73" y="87"/>
                      <a:pt x="75" y="82"/>
                      <a:pt x="77" y="77"/>
                    </a:cubicBezTo>
                    <a:cubicBezTo>
                      <a:pt x="77" y="77"/>
                      <a:pt x="77" y="77"/>
                      <a:pt x="77" y="77"/>
                    </a:cubicBezTo>
                    <a:cubicBezTo>
                      <a:pt x="82" y="75"/>
                      <a:pt x="86" y="67"/>
                      <a:pt x="87" y="61"/>
                    </a:cubicBezTo>
                    <a:cubicBezTo>
                      <a:pt x="88" y="54"/>
                      <a:pt x="88" y="50"/>
                      <a:pt x="85" y="47"/>
                    </a:cubicBezTo>
                    <a:cubicBezTo>
                      <a:pt x="85" y="47"/>
                      <a:pt x="84" y="46"/>
                      <a:pt x="84" y="46"/>
                    </a:cubicBezTo>
                    <a:cubicBezTo>
                      <a:pt x="84" y="46"/>
                      <a:pt x="84" y="46"/>
                      <a:pt x="84" y="46"/>
                    </a:cubicBezTo>
                    <a:cubicBezTo>
                      <a:pt x="84" y="46"/>
                      <a:pt x="84" y="46"/>
                      <a:pt x="84" y="46"/>
                    </a:cubicBezTo>
                    <a:cubicBezTo>
                      <a:pt x="86" y="35"/>
                      <a:pt x="84" y="25"/>
                      <a:pt x="78" y="16"/>
                    </a:cubicBezTo>
                    <a:cubicBezTo>
                      <a:pt x="71" y="6"/>
                      <a:pt x="59" y="0"/>
                      <a:pt x="44" y="0"/>
                    </a:cubicBezTo>
                    <a:cubicBezTo>
                      <a:pt x="30" y="0"/>
                      <a:pt x="18" y="6"/>
                      <a:pt x="10" y="16"/>
                    </a:cubicBezTo>
                    <a:cubicBezTo>
                      <a:pt x="4" y="25"/>
                      <a:pt x="2" y="35"/>
                      <a:pt x="5" y="46"/>
                    </a:cubicBezTo>
                    <a:cubicBezTo>
                      <a:pt x="5" y="46"/>
                      <a:pt x="5" y="46"/>
                      <a:pt x="5" y="46"/>
                    </a:cubicBezTo>
                    <a:cubicBezTo>
                      <a:pt x="5" y="46"/>
                      <a:pt x="5" y="46"/>
                      <a:pt x="5" y="46"/>
                    </a:cubicBezTo>
                    <a:cubicBezTo>
                      <a:pt x="4" y="46"/>
                      <a:pt x="3" y="47"/>
                      <a:pt x="3" y="47"/>
                    </a:cubicBezTo>
                    <a:cubicBezTo>
                      <a:pt x="1" y="50"/>
                      <a:pt x="0" y="54"/>
                      <a:pt x="1" y="61"/>
                    </a:cubicBezTo>
                    <a:cubicBezTo>
                      <a:pt x="2" y="67"/>
                      <a:pt x="6" y="75"/>
                      <a:pt x="12" y="77"/>
                    </a:cubicBezTo>
                    <a:cubicBezTo>
                      <a:pt x="12" y="77"/>
                      <a:pt x="12" y="77"/>
                      <a:pt x="12" y="77"/>
                    </a:cubicBezTo>
                    <a:cubicBezTo>
                      <a:pt x="14" y="82"/>
                      <a:pt x="16" y="87"/>
                      <a:pt x="18" y="91"/>
                    </a:cubicBezTo>
                    <a:cubicBezTo>
                      <a:pt x="18" y="92"/>
                      <a:pt x="18" y="92"/>
                      <a:pt x="18" y="92"/>
                    </a:cubicBezTo>
                    <a:cubicBezTo>
                      <a:pt x="19" y="96"/>
                      <a:pt x="20" y="105"/>
                      <a:pt x="18" y="109"/>
                    </a:cubicBezTo>
                    <a:cubicBezTo>
                      <a:pt x="18" y="111"/>
                      <a:pt x="14" y="112"/>
                      <a:pt x="8" y="114"/>
                    </a:cubicBezTo>
                    <a:cubicBezTo>
                      <a:pt x="6" y="115"/>
                      <a:pt x="4" y="116"/>
                      <a:pt x="3" y="117"/>
                    </a:cubicBezTo>
                    <a:cubicBezTo>
                      <a:pt x="2" y="117"/>
                      <a:pt x="2" y="117"/>
                      <a:pt x="2" y="117"/>
                    </a:cubicBezTo>
                    <a:cubicBezTo>
                      <a:pt x="9" y="121"/>
                      <a:pt x="9" y="121"/>
                      <a:pt x="9" y="121"/>
                    </a:cubicBezTo>
                    <a:cubicBezTo>
                      <a:pt x="9" y="121"/>
                      <a:pt x="9" y="121"/>
                      <a:pt x="9" y="121"/>
                    </a:cubicBezTo>
                    <a:cubicBezTo>
                      <a:pt x="9" y="121"/>
                      <a:pt x="9" y="121"/>
                      <a:pt x="9" y="121"/>
                    </a:cubicBezTo>
                    <a:cubicBezTo>
                      <a:pt x="10" y="121"/>
                      <a:pt x="10" y="121"/>
                      <a:pt x="10" y="120"/>
                    </a:cubicBezTo>
                    <a:cubicBezTo>
                      <a:pt x="11" y="120"/>
                      <a:pt x="11" y="120"/>
                      <a:pt x="11" y="120"/>
                    </a:cubicBezTo>
                    <a:cubicBezTo>
                      <a:pt x="17" y="118"/>
                      <a:pt x="23" y="116"/>
                      <a:pt x="24" y="111"/>
                    </a:cubicBezTo>
                    <a:cubicBezTo>
                      <a:pt x="27" y="105"/>
                      <a:pt x="25" y="92"/>
                      <a:pt x="25" y="90"/>
                    </a:cubicBezTo>
                    <a:cubicBezTo>
                      <a:pt x="25" y="89"/>
                      <a:pt x="24" y="89"/>
                      <a:pt x="24" y="89"/>
                    </a:cubicBezTo>
                    <a:cubicBezTo>
                      <a:pt x="22" y="84"/>
                      <a:pt x="19" y="79"/>
                      <a:pt x="17" y="73"/>
                    </a:cubicBezTo>
                    <a:cubicBezTo>
                      <a:pt x="17" y="72"/>
                      <a:pt x="16" y="71"/>
                      <a:pt x="14" y="71"/>
                    </a:cubicBezTo>
                    <a:cubicBezTo>
                      <a:pt x="12" y="71"/>
                      <a:pt x="9" y="66"/>
                      <a:pt x="8" y="60"/>
                    </a:cubicBezTo>
                    <a:cubicBezTo>
                      <a:pt x="7" y="54"/>
                      <a:pt x="8" y="52"/>
                      <a:pt x="8" y="52"/>
                    </a:cubicBezTo>
                    <a:cubicBezTo>
                      <a:pt x="8" y="52"/>
                      <a:pt x="8" y="51"/>
                      <a:pt x="9" y="51"/>
                    </a:cubicBezTo>
                    <a:cubicBezTo>
                      <a:pt x="10" y="51"/>
                      <a:pt x="11" y="51"/>
                      <a:pt x="11" y="50"/>
                    </a:cubicBezTo>
                    <a:cubicBezTo>
                      <a:pt x="12" y="49"/>
                      <a:pt x="12" y="48"/>
                      <a:pt x="12" y="47"/>
                    </a:cubicBezTo>
                    <a:cubicBezTo>
                      <a:pt x="9" y="38"/>
                      <a:pt x="10" y="28"/>
                      <a:pt x="16" y="20"/>
                    </a:cubicBezTo>
                    <a:cubicBezTo>
                      <a:pt x="22" y="11"/>
                      <a:pt x="32" y="7"/>
                      <a:pt x="44" y="7"/>
                    </a:cubicBezTo>
                    <a:cubicBezTo>
                      <a:pt x="56" y="7"/>
                      <a:pt x="67" y="11"/>
                      <a:pt x="73" y="20"/>
                    </a:cubicBezTo>
                    <a:cubicBezTo>
                      <a:pt x="78" y="28"/>
                      <a:pt x="80" y="38"/>
                      <a:pt x="77" y="47"/>
                    </a:cubicBezTo>
                    <a:cubicBezTo>
                      <a:pt x="76" y="48"/>
                      <a:pt x="76" y="49"/>
                      <a:pt x="77" y="50"/>
                    </a:cubicBezTo>
                    <a:cubicBezTo>
                      <a:pt x="78" y="51"/>
                      <a:pt x="79" y="51"/>
                      <a:pt x="80" y="51"/>
                    </a:cubicBezTo>
                    <a:cubicBezTo>
                      <a:pt x="80" y="51"/>
                      <a:pt x="80" y="51"/>
                      <a:pt x="80" y="52"/>
                    </a:cubicBezTo>
                    <a:cubicBezTo>
                      <a:pt x="81" y="52"/>
                      <a:pt x="82" y="54"/>
                      <a:pt x="81" y="60"/>
                    </a:cubicBezTo>
                    <a:cubicBezTo>
                      <a:pt x="80" y="66"/>
                      <a:pt x="76" y="71"/>
                      <a:pt x="74" y="71"/>
                    </a:cubicBezTo>
                    <a:cubicBezTo>
                      <a:pt x="73" y="71"/>
                      <a:pt x="71" y="72"/>
                      <a:pt x="71" y="73"/>
                    </a:cubicBezTo>
                    <a:cubicBezTo>
                      <a:pt x="69" y="79"/>
                      <a:pt x="67" y="84"/>
                      <a:pt x="64" y="89"/>
                    </a:cubicBezTo>
                    <a:cubicBezTo>
                      <a:pt x="64" y="89"/>
                      <a:pt x="64" y="89"/>
                      <a:pt x="64" y="90"/>
                    </a:cubicBezTo>
                    <a:cubicBezTo>
                      <a:pt x="63" y="92"/>
                      <a:pt x="61" y="105"/>
                      <a:pt x="64" y="111"/>
                    </a:cubicBezTo>
                    <a:cubicBezTo>
                      <a:pt x="65" y="115"/>
                      <a:pt x="69" y="117"/>
                      <a:pt x="75" y="119"/>
                    </a:cubicBezTo>
                    <a:cubicBezTo>
                      <a:pt x="75" y="119"/>
                      <a:pt x="75" y="119"/>
                      <a:pt x="75" y="119"/>
                    </a:cubicBezTo>
                    <a:cubicBezTo>
                      <a:pt x="90" y="124"/>
                      <a:pt x="98" y="131"/>
                      <a:pt x="99" y="141"/>
                    </a:cubicBezTo>
                    <a:cubicBezTo>
                      <a:pt x="99" y="141"/>
                      <a:pt x="99" y="141"/>
                      <a:pt x="99" y="141"/>
                    </a:cubicBezTo>
                    <a:cubicBezTo>
                      <a:pt x="23" y="141"/>
                      <a:pt x="23" y="141"/>
                      <a:pt x="23" y="141"/>
                    </a:cubicBezTo>
                    <a:cubicBezTo>
                      <a:pt x="25" y="148"/>
                      <a:pt x="25" y="148"/>
                      <a:pt x="25" y="148"/>
                    </a:cubicBezTo>
                    <a:cubicBezTo>
                      <a:pt x="103" y="148"/>
                      <a:pt x="103" y="148"/>
                      <a:pt x="103" y="148"/>
                    </a:cubicBezTo>
                    <a:cubicBezTo>
                      <a:pt x="107" y="148"/>
                      <a:pt x="107" y="144"/>
                      <a:pt x="107" y="144"/>
                    </a:cubicBezTo>
                    <a:cubicBezTo>
                      <a:pt x="107" y="125"/>
                      <a:pt x="88" y="117"/>
                      <a:pt x="79" y="1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166" name="Group 165">
            <a:extLst>
              <a:ext uri="{FF2B5EF4-FFF2-40B4-BE49-F238E27FC236}">
                <a16:creationId xmlns:a16="http://schemas.microsoft.com/office/drawing/2014/main" id="{3F35E41F-BD36-3D44-AEEE-CF32E0406FC7}"/>
              </a:ext>
              <a:ext uri="{C183D7F6-B498-43B3-948B-1728B52AA6E4}">
                <adec:decorative xmlns:adec="http://schemas.microsoft.com/office/drawing/2017/decorative" val="1"/>
              </a:ext>
            </a:extLst>
          </p:cNvPr>
          <p:cNvGrpSpPr/>
          <p:nvPr/>
        </p:nvGrpSpPr>
        <p:grpSpPr>
          <a:xfrm>
            <a:off x="7764898" y="3748155"/>
            <a:ext cx="442209" cy="442209"/>
            <a:chOff x="7793773" y="4126128"/>
            <a:chExt cx="442209" cy="442209"/>
          </a:xfrm>
        </p:grpSpPr>
        <p:sp>
          <p:nvSpPr>
            <p:cNvPr id="110" name="Oval 109">
              <a:extLst>
                <a:ext uri="{FF2B5EF4-FFF2-40B4-BE49-F238E27FC236}">
                  <a16:creationId xmlns:a16="http://schemas.microsoft.com/office/drawing/2014/main" id="{33C02262-5887-1B6D-0F96-AB5A53571155}"/>
                </a:ext>
              </a:extLst>
            </p:cNvPr>
            <p:cNvSpPr/>
            <p:nvPr/>
          </p:nvSpPr>
          <p:spPr>
            <a:xfrm>
              <a:off x="7793773" y="4126128"/>
              <a:ext cx="442209" cy="442209"/>
            </a:xfrm>
            <a:prstGeom prst="ellipse">
              <a:avLst/>
            </a:prstGeom>
            <a:solidFill>
              <a:schemeClr val="accent6"/>
            </a:solidFill>
            <a:ln w="349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162" name="Group 161">
              <a:extLst>
                <a:ext uri="{FF2B5EF4-FFF2-40B4-BE49-F238E27FC236}">
                  <a16:creationId xmlns:a16="http://schemas.microsoft.com/office/drawing/2014/main" id="{C62D8567-6C6B-46E1-215F-1A41D9274DD3}"/>
                </a:ext>
              </a:extLst>
            </p:cNvPr>
            <p:cNvGrpSpPr>
              <a:grpSpLocks noChangeAspect="1"/>
            </p:cNvGrpSpPr>
            <p:nvPr/>
          </p:nvGrpSpPr>
          <p:grpSpPr>
            <a:xfrm>
              <a:off x="7919678" y="4224918"/>
              <a:ext cx="190398" cy="227208"/>
              <a:chOff x="9466263" y="1044575"/>
              <a:chExt cx="476250" cy="568325"/>
            </a:xfrm>
            <a:solidFill>
              <a:srgbClr val="FFFFFF"/>
            </a:solidFill>
          </p:grpSpPr>
          <p:sp>
            <p:nvSpPr>
              <p:cNvPr id="163" name="Freeform 90">
                <a:extLst>
                  <a:ext uri="{FF2B5EF4-FFF2-40B4-BE49-F238E27FC236}">
                    <a16:creationId xmlns:a16="http://schemas.microsoft.com/office/drawing/2014/main" id="{3349DAFE-DAF5-D199-1713-DC742341F9F2}"/>
                  </a:ext>
                </a:extLst>
              </p:cNvPr>
              <p:cNvSpPr>
                <a:spLocks noEditPoints="1"/>
              </p:cNvSpPr>
              <p:nvPr/>
            </p:nvSpPr>
            <p:spPr bwMode="auto">
              <a:xfrm>
                <a:off x="9575800" y="1555750"/>
                <a:ext cx="260350" cy="57150"/>
              </a:xfrm>
              <a:custGeom>
                <a:avLst/>
                <a:gdLst>
                  <a:gd name="T0" fmla="*/ 78 w 82"/>
                  <a:gd name="T1" fmla="*/ 0 h 18"/>
                  <a:gd name="T2" fmla="*/ 3 w 82"/>
                  <a:gd name="T3" fmla="*/ 0 h 18"/>
                  <a:gd name="T4" fmla="*/ 0 w 82"/>
                  <a:gd name="T5" fmla="*/ 4 h 18"/>
                  <a:gd name="T6" fmla="*/ 12 w 82"/>
                  <a:gd name="T7" fmla="*/ 18 h 18"/>
                  <a:gd name="T8" fmla="*/ 71 w 82"/>
                  <a:gd name="T9" fmla="*/ 18 h 18"/>
                  <a:gd name="T10" fmla="*/ 82 w 82"/>
                  <a:gd name="T11" fmla="*/ 4 h 18"/>
                  <a:gd name="T12" fmla="*/ 78 w 82"/>
                  <a:gd name="T13" fmla="*/ 0 h 18"/>
                  <a:gd name="T14" fmla="*/ 71 w 82"/>
                  <a:gd name="T15" fmla="*/ 11 h 18"/>
                  <a:gd name="T16" fmla="*/ 12 w 82"/>
                  <a:gd name="T17" fmla="*/ 11 h 18"/>
                  <a:gd name="T18" fmla="*/ 9 w 82"/>
                  <a:gd name="T19" fmla="*/ 7 h 18"/>
                  <a:gd name="T20" fmla="*/ 74 w 82"/>
                  <a:gd name="T21" fmla="*/ 7 h 18"/>
                  <a:gd name="T22" fmla="*/ 71 w 82"/>
                  <a:gd name="T23"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2" h="18">
                    <a:moveTo>
                      <a:pt x="78" y="0"/>
                    </a:moveTo>
                    <a:cubicBezTo>
                      <a:pt x="78" y="0"/>
                      <a:pt x="78" y="0"/>
                      <a:pt x="3" y="0"/>
                    </a:cubicBezTo>
                    <a:cubicBezTo>
                      <a:pt x="1" y="0"/>
                      <a:pt x="0" y="2"/>
                      <a:pt x="0" y="4"/>
                    </a:cubicBezTo>
                    <a:cubicBezTo>
                      <a:pt x="0" y="11"/>
                      <a:pt x="5" y="18"/>
                      <a:pt x="12" y="18"/>
                    </a:cubicBezTo>
                    <a:cubicBezTo>
                      <a:pt x="12" y="18"/>
                      <a:pt x="12" y="18"/>
                      <a:pt x="71" y="18"/>
                    </a:cubicBezTo>
                    <a:cubicBezTo>
                      <a:pt x="76" y="18"/>
                      <a:pt x="82" y="11"/>
                      <a:pt x="82" y="4"/>
                    </a:cubicBezTo>
                    <a:cubicBezTo>
                      <a:pt x="82" y="2"/>
                      <a:pt x="80" y="0"/>
                      <a:pt x="78" y="0"/>
                    </a:cubicBezTo>
                    <a:close/>
                    <a:moveTo>
                      <a:pt x="71" y="11"/>
                    </a:moveTo>
                    <a:cubicBezTo>
                      <a:pt x="71" y="11"/>
                      <a:pt x="71" y="11"/>
                      <a:pt x="12" y="11"/>
                    </a:cubicBezTo>
                    <a:cubicBezTo>
                      <a:pt x="10" y="11"/>
                      <a:pt x="9" y="9"/>
                      <a:pt x="9" y="7"/>
                    </a:cubicBezTo>
                    <a:cubicBezTo>
                      <a:pt x="74" y="7"/>
                      <a:pt x="74" y="7"/>
                      <a:pt x="74" y="7"/>
                    </a:cubicBezTo>
                    <a:cubicBezTo>
                      <a:pt x="73" y="9"/>
                      <a:pt x="72" y="11"/>
                      <a:pt x="7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4" name="Freeform 91">
                <a:extLst>
                  <a:ext uri="{FF2B5EF4-FFF2-40B4-BE49-F238E27FC236}">
                    <a16:creationId xmlns:a16="http://schemas.microsoft.com/office/drawing/2014/main" id="{405F3D96-E13A-B88F-FDA1-94D7054019D7}"/>
                  </a:ext>
                </a:extLst>
              </p:cNvPr>
              <p:cNvSpPr>
                <a:spLocks noEditPoints="1"/>
              </p:cNvSpPr>
              <p:nvPr/>
            </p:nvSpPr>
            <p:spPr bwMode="auto">
              <a:xfrm>
                <a:off x="9466263" y="1274763"/>
                <a:ext cx="476250" cy="261938"/>
              </a:xfrm>
              <a:custGeom>
                <a:avLst/>
                <a:gdLst>
                  <a:gd name="T0" fmla="*/ 127 w 149"/>
                  <a:gd name="T1" fmla="*/ 18 h 82"/>
                  <a:gd name="T2" fmla="*/ 123 w 149"/>
                  <a:gd name="T3" fmla="*/ 11 h 82"/>
                  <a:gd name="T4" fmla="*/ 106 w 149"/>
                  <a:gd name="T5" fmla="*/ 0 h 82"/>
                  <a:gd name="T6" fmla="*/ 47 w 149"/>
                  <a:gd name="T7" fmla="*/ 0 h 82"/>
                  <a:gd name="T8" fmla="*/ 28 w 149"/>
                  <a:gd name="T9" fmla="*/ 13 h 82"/>
                  <a:gd name="T10" fmla="*/ 0 w 149"/>
                  <a:gd name="T11" fmla="*/ 59 h 82"/>
                  <a:gd name="T12" fmla="*/ 0 w 149"/>
                  <a:gd name="T13" fmla="*/ 61 h 82"/>
                  <a:gd name="T14" fmla="*/ 21 w 149"/>
                  <a:gd name="T15" fmla="*/ 82 h 82"/>
                  <a:gd name="T16" fmla="*/ 37 w 149"/>
                  <a:gd name="T17" fmla="*/ 82 h 82"/>
                  <a:gd name="T18" fmla="*/ 114 w 149"/>
                  <a:gd name="T19" fmla="*/ 82 h 82"/>
                  <a:gd name="T20" fmla="*/ 128 w 149"/>
                  <a:gd name="T21" fmla="*/ 82 h 82"/>
                  <a:gd name="T22" fmla="*/ 149 w 149"/>
                  <a:gd name="T23" fmla="*/ 61 h 82"/>
                  <a:gd name="T24" fmla="*/ 149 w 149"/>
                  <a:gd name="T25" fmla="*/ 59 h 82"/>
                  <a:gd name="T26" fmla="*/ 127 w 149"/>
                  <a:gd name="T27" fmla="*/ 18 h 82"/>
                  <a:gd name="T28" fmla="*/ 110 w 149"/>
                  <a:gd name="T29" fmla="*/ 74 h 82"/>
                  <a:gd name="T30" fmla="*/ 41 w 149"/>
                  <a:gd name="T31" fmla="*/ 74 h 82"/>
                  <a:gd name="T32" fmla="*/ 41 w 149"/>
                  <a:gd name="T33" fmla="*/ 35 h 82"/>
                  <a:gd name="T34" fmla="*/ 47 w 149"/>
                  <a:gd name="T35" fmla="*/ 32 h 82"/>
                  <a:gd name="T36" fmla="*/ 104 w 149"/>
                  <a:gd name="T37" fmla="*/ 32 h 82"/>
                  <a:gd name="T38" fmla="*/ 110 w 149"/>
                  <a:gd name="T39" fmla="*/ 35 h 82"/>
                  <a:gd name="T40" fmla="*/ 110 w 149"/>
                  <a:gd name="T41" fmla="*/ 74 h 82"/>
                  <a:gd name="T42" fmla="*/ 128 w 149"/>
                  <a:gd name="T43" fmla="*/ 74 h 82"/>
                  <a:gd name="T44" fmla="*/ 117 w 149"/>
                  <a:gd name="T45" fmla="*/ 74 h 82"/>
                  <a:gd name="T46" fmla="*/ 117 w 149"/>
                  <a:gd name="T47" fmla="*/ 37 h 82"/>
                  <a:gd name="T48" fmla="*/ 117 w 149"/>
                  <a:gd name="T49" fmla="*/ 35 h 82"/>
                  <a:gd name="T50" fmla="*/ 104 w 149"/>
                  <a:gd name="T51" fmla="*/ 24 h 82"/>
                  <a:gd name="T52" fmla="*/ 47 w 149"/>
                  <a:gd name="T53" fmla="*/ 24 h 82"/>
                  <a:gd name="T54" fmla="*/ 34 w 149"/>
                  <a:gd name="T55" fmla="*/ 35 h 82"/>
                  <a:gd name="T56" fmla="*/ 34 w 149"/>
                  <a:gd name="T57" fmla="*/ 37 h 82"/>
                  <a:gd name="T58" fmla="*/ 34 w 149"/>
                  <a:gd name="T59" fmla="*/ 74 h 82"/>
                  <a:gd name="T60" fmla="*/ 21 w 149"/>
                  <a:gd name="T61" fmla="*/ 74 h 82"/>
                  <a:gd name="T62" fmla="*/ 8 w 149"/>
                  <a:gd name="T63" fmla="*/ 61 h 82"/>
                  <a:gd name="T64" fmla="*/ 34 w 149"/>
                  <a:gd name="T65" fmla="*/ 17 h 82"/>
                  <a:gd name="T66" fmla="*/ 47 w 149"/>
                  <a:gd name="T67" fmla="*/ 7 h 82"/>
                  <a:gd name="T68" fmla="*/ 106 w 149"/>
                  <a:gd name="T69" fmla="*/ 7 h 82"/>
                  <a:gd name="T70" fmla="*/ 117 w 149"/>
                  <a:gd name="T71" fmla="*/ 15 h 82"/>
                  <a:gd name="T72" fmla="*/ 141 w 149"/>
                  <a:gd name="T73" fmla="*/ 61 h 82"/>
                  <a:gd name="T74" fmla="*/ 128 w 149"/>
                  <a:gd name="T75" fmla="*/ 7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9" h="82">
                    <a:moveTo>
                      <a:pt x="127" y="18"/>
                    </a:moveTo>
                    <a:cubicBezTo>
                      <a:pt x="125" y="15"/>
                      <a:pt x="123" y="11"/>
                      <a:pt x="123" y="11"/>
                    </a:cubicBezTo>
                    <a:cubicBezTo>
                      <a:pt x="119" y="4"/>
                      <a:pt x="115" y="0"/>
                      <a:pt x="106" y="0"/>
                    </a:cubicBezTo>
                    <a:cubicBezTo>
                      <a:pt x="47" y="0"/>
                      <a:pt x="47" y="0"/>
                      <a:pt x="47" y="0"/>
                    </a:cubicBezTo>
                    <a:cubicBezTo>
                      <a:pt x="37" y="0"/>
                      <a:pt x="32" y="5"/>
                      <a:pt x="28" y="13"/>
                    </a:cubicBezTo>
                    <a:cubicBezTo>
                      <a:pt x="0" y="59"/>
                      <a:pt x="0" y="59"/>
                      <a:pt x="0" y="59"/>
                    </a:cubicBezTo>
                    <a:cubicBezTo>
                      <a:pt x="0" y="59"/>
                      <a:pt x="0" y="59"/>
                      <a:pt x="0" y="61"/>
                    </a:cubicBezTo>
                    <a:cubicBezTo>
                      <a:pt x="0" y="73"/>
                      <a:pt x="9" y="82"/>
                      <a:pt x="21" y="82"/>
                    </a:cubicBezTo>
                    <a:cubicBezTo>
                      <a:pt x="37" y="82"/>
                      <a:pt x="37" y="82"/>
                      <a:pt x="37" y="82"/>
                    </a:cubicBezTo>
                    <a:cubicBezTo>
                      <a:pt x="114" y="82"/>
                      <a:pt x="114" y="82"/>
                      <a:pt x="114" y="82"/>
                    </a:cubicBezTo>
                    <a:cubicBezTo>
                      <a:pt x="128" y="82"/>
                      <a:pt x="128" y="82"/>
                      <a:pt x="128" y="82"/>
                    </a:cubicBezTo>
                    <a:cubicBezTo>
                      <a:pt x="140" y="82"/>
                      <a:pt x="149" y="73"/>
                      <a:pt x="149" y="61"/>
                    </a:cubicBezTo>
                    <a:cubicBezTo>
                      <a:pt x="149" y="59"/>
                      <a:pt x="149" y="59"/>
                      <a:pt x="149" y="59"/>
                    </a:cubicBezTo>
                    <a:cubicBezTo>
                      <a:pt x="127" y="18"/>
                      <a:pt x="127" y="18"/>
                      <a:pt x="127" y="18"/>
                    </a:cubicBezTo>
                    <a:close/>
                    <a:moveTo>
                      <a:pt x="110" y="74"/>
                    </a:moveTo>
                    <a:cubicBezTo>
                      <a:pt x="41" y="74"/>
                      <a:pt x="41" y="74"/>
                      <a:pt x="41" y="74"/>
                    </a:cubicBezTo>
                    <a:cubicBezTo>
                      <a:pt x="41" y="35"/>
                      <a:pt x="41" y="35"/>
                      <a:pt x="41" y="35"/>
                    </a:cubicBezTo>
                    <a:cubicBezTo>
                      <a:pt x="41" y="33"/>
                      <a:pt x="43" y="32"/>
                      <a:pt x="47" y="32"/>
                    </a:cubicBezTo>
                    <a:cubicBezTo>
                      <a:pt x="104" y="32"/>
                      <a:pt x="104" y="32"/>
                      <a:pt x="104" y="32"/>
                    </a:cubicBezTo>
                    <a:cubicBezTo>
                      <a:pt x="108" y="32"/>
                      <a:pt x="110" y="33"/>
                      <a:pt x="110" y="35"/>
                    </a:cubicBezTo>
                    <a:cubicBezTo>
                      <a:pt x="110" y="74"/>
                      <a:pt x="110" y="74"/>
                      <a:pt x="110" y="74"/>
                    </a:cubicBezTo>
                    <a:close/>
                    <a:moveTo>
                      <a:pt x="128" y="74"/>
                    </a:moveTo>
                    <a:cubicBezTo>
                      <a:pt x="117" y="74"/>
                      <a:pt x="117" y="74"/>
                      <a:pt x="117" y="74"/>
                    </a:cubicBezTo>
                    <a:cubicBezTo>
                      <a:pt x="117" y="37"/>
                      <a:pt x="117" y="37"/>
                      <a:pt x="117" y="37"/>
                    </a:cubicBezTo>
                    <a:cubicBezTo>
                      <a:pt x="117" y="35"/>
                      <a:pt x="117" y="35"/>
                      <a:pt x="117" y="35"/>
                    </a:cubicBezTo>
                    <a:cubicBezTo>
                      <a:pt x="117" y="30"/>
                      <a:pt x="112" y="24"/>
                      <a:pt x="104" y="24"/>
                    </a:cubicBezTo>
                    <a:cubicBezTo>
                      <a:pt x="47" y="24"/>
                      <a:pt x="47" y="24"/>
                      <a:pt x="47" y="24"/>
                    </a:cubicBezTo>
                    <a:cubicBezTo>
                      <a:pt x="39" y="24"/>
                      <a:pt x="34" y="30"/>
                      <a:pt x="34" y="35"/>
                    </a:cubicBezTo>
                    <a:cubicBezTo>
                      <a:pt x="34" y="37"/>
                      <a:pt x="34" y="37"/>
                      <a:pt x="34" y="37"/>
                    </a:cubicBezTo>
                    <a:cubicBezTo>
                      <a:pt x="34" y="74"/>
                      <a:pt x="34" y="74"/>
                      <a:pt x="34" y="74"/>
                    </a:cubicBezTo>
                    <a:cubicBezTo>
                      <a:pt x="21" y="74"/>
                      <a:pt x="21" y="74"/>
                      <a:pt x="21" y="74"/>
                    </a:cubicBezTo>
                    <a:cubicBezTo>
                      <a:pt x="13" y="74"/>
                      <a:pt x="8" y="69"/>
                      <a:pt x="8" y="61"/>
                    </a:cubicBezTo>
                    <a:cubicBezTo>
                      <a:pt x="32" y="22"/>
                      <a:pt x="34" y="17"/>
                      <a:pt x="34" y="17"/>
                    </a:cubicBezTo>
                    <a:cubicBezTo>
                      <a:pt x="39" y="10"/>
                      <a:pt x="41" y="7"/>
                      <a:pt x="47" y="7"/>
                    </a:cubicBezTo>
                    <a:cubicBezTo>
                      <a:pt x="106" y="7"/>
                      <a:pt x="106" y="7"/>
                      <a:pt x="106" y="7"/>
                    </a:cubicBezTo>
                    <a:cubicBezTo>
                      <a:pt x="112" y="7"/>
                      <a:pt x="113" y="8"/>
                      <a:pt x="117" y="15"/>
                    </a:cubicBezTo>
                    <a:cubicBezTo>
                      <a:pt x="141" y="61"/>
                      <a:pt x="141" y="61"/>
                      <a:pt x="141" y="61"/>
                    </a:cubicBezTo>
                    <a:cubicBezTo>
                      <a:pt x="141" y="69"/>
                      <a:pt x="134" y="74"/>
                      <a:pt x="128"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5" name="Freeform 92">
                <a:extLst>
                  <a:ext uri="{FF2B5EF4-FFF2-40B4-BE49-F238E27FC236}">
                    <a16:creationId xmlns:a16="http://schemas.microsoft.com/office/drawing/2014/main" id="{EF019551-4722-4FB5-DC41-4415E72D11D1}"/>
                  </a:ext>
                </a:extLst>
              </p:cNvPr>
              <p:cNvSpPr>
                <a:spLocks noEditPoints="1"/>
              </p:cNvSpPr>
              <p:nvPr/>
            </p:nvSpPr>
            <p:spPr bwMode="auto">
              <a:xfrm>
                <a:off x="9617075" y="1044575"/>
                <a:ext cx="184150" cy="220663"/>
              </a:xfrm>
              <a:custGeom>
                <a:avLst/>
                <a:gdLst>
                  <a:gd name="T0" fmla="*/ 8 w 58"/>
                  <a:gd name="T1" fmla="*/ 50 h 69"/>
                  <a:gd name="T2" fmla="*/ 10 w 58"/>
                  <a:gd name="T3" fmla="*/ 55 h 69"/>
                  <a:gd name="T4" fmla="*/ 12 w 58"/>
                  <a:gd name="T5" fmla="*/ 57 h 69"/>
                  <a:gd name="T6" fmla="*/ 12 w 58"/>
                  <a:gd name="T7" fmla="*/ 58 h 69"/>
                  <a:gd name="T8" fmla="*/ 14 w 58"/>
                  <a:gd name="T9" fmla="*/ 61 h 69"/>
                  <a:gd name="T10" fmla="*/ 16 w 58"/>
                  <a:gd name="T11" fmla="*/ 63 h 69"/>
                  <a:gd name="T12" fmla="*/ 29 w 58"/>
                  <a:gd name="T13" fmla="*/ 69 h 69"/>
                  <a:gd name="T14" fmla="*/ 42 w 58"/>
                  <a:gd name="T15" fmla="*/ 64 h 69"/>
                  <a:gd name="T16" fmla="*/ 44 w 58"/>
                  <a:gd name="T17" fmla="*/ 61 h 69"/>
                  <a:gd name="T18" fmla="*/ 46 w 58"/>
                  <a:gd name="T19" fmla="*/ 58 h 69"/>
                  <a:gd name="T20" fmla="*/ 48 w 58"/>
                  <a:gd name="T21" fmla="*/ 54 h 69"/>
                  <a:gd name="T22" fmla="*/ 50 w 58"/>
                  <a:gd name="T23" fmla="*/ 50 h 69"/>
                  <a:gd name="T24" fmla="*/ 57 w 58"/>
                  <a:gd name="T25" fmla="*/ 39 h 69"/>
                  <a:gd name="T26" fmla="*/ 56 w 58"/>
                  <a:gd name="T27" fmla="*/ 30 h 69"/>
                  <a:gd name="T28" fmla="*/ 55 w 58"/>
                  <a:gd name="T29" fmla="*/ 29 h 69"/>
                  <a:gd name="T30" fmla="*/ 51 w 58"/>
                  <a:gd name="T31" fmla="*/ 10 h 69"/>
                  <a:gd name="T32" fmla="*/ 29 w 58"/>
                  <a:gd name="T33" fmla="*/ 0 h 69"/>
                  <a:gd name="T34" fmla="*/ 7 w 58"/>
                  <a:gd name="T35" fmla="*/ 10 h 69"/>
                  <a:gd name="T36" fmla="*/ 3 w 58"/>
                  <a:gd name="T37" fmla="*/ 29 h 69"/>
                  <a:gd name="T38" fmla="*/ 3 w 58"/>
                  <a:gd name="T39" fmla="*/ 30 h 69"/>
                  <a:gd name="T40" fmla="*/ 1 w 58"/>
                  <a:gd name="T41" fmla="*/ 39 h 69"/>
                  <a:gd name="T42" fmla="*/ 8 w 58"/>
                  <a:gd name="T43" fmla="*/ 50 h 69"/>
                  <a:gd name="T44" fmla="*/ 8 w 58"/>
                  <a:gd name="T45" fmla="*/ 34 h 69"/>
                  <a:gd name="T46" fmla="*/ 8 w 58"/>
                  <a:gd name="T47" fmla="*/ 34 h 69"/>
                  <a:gd name="T48" fmla="*/ 10 w 58"/>
                  <a:gd name="T49" fmla="*/ 33 h 69"/>
                  <a:gd name="T50" fmla="*/ 10 w 58"/>
                  <a:gd name="T51" fmla="*/ 30 h 69"/>
                  <a:gd name="T52" fmla="*/ 9 w 58"/>
                  <a:gd name="T53" fmla="*/ 26 h 69"/>
                  <a:gd name="T54" fmla="*/ 12 w 58"/>
                  <a:gd name="T55" fmla="*/ 14 h 69"/>
                  <a:gd name="T56" fmla="*/ 16 w 58"/>
                  <a:gd name="T57" fmla="*/ 10 h 69"/>
                  <a:gd name="T58" fmla="*/ 29 w 58"/>
                  <a:gd name="T59" fmla="*/ 6 h 69"/>
                  <a:gd name="T60" fmla="*/ 42 w 58"/>
                  <a:gd name="T61" fmla="*/ 11 h 69"/>
                  <a:gd name="T62" fmla="*/ 46 w 58"/>
                  <a:gd name="T63" fmla="*/ 14 h 69"/>
                  <a:gd name="T64" fmla="*/ 49 w 58"/>
                  <a:gd name="T65" fmla="*/ 26 h 69"/>
                  <a:gd name="T66" fmla="*/ 48 w 58"/>
                  <a:gd name="T67" fmla="*/ 30 h 69"/>
                  <a:gd name="T68" fmla="*/ 48 w 58"/>
                  <a:gd name="T69" fmla="*/ 33 h 69"/>
                  <a:gd name="T70" fmla="*/ 50 w 58"/>
                  <a:gd name="T71" fmla="*/ 34 h 69"/>
                  <a:gd name="T72" fmla="*/ 51 w 58"/>
                  <a:gd name="T73" fmla="*/ 34 h 69"/>
                  <a:gd name="T74" fmla="*/ 50 w 58"/>
                  <a:gd name="T75" fmla="*/ 38 h 69"/>
                  <a:gd name="T76" fmla="*/ 50 w 58"/>
                  <a:gd name="T77" fmla="*/ 38 h 69"/>
                  <a:gd name="T78" fmla="*/ 49 w 58"/>
                  <a:gd name="T79" fmla="*/ 42 h 69"/>
                  <a:gd name="T80" fmla="*/ 48 w 58"/>
                  <a:gd name="T81" fmla="*/ 44 h 69"/>
                  <a:gd name="T82" fmla="*/ 45 w 58"/>
                  <a:gd name="T83" fmla="*/ 45 h 69"/>
                  <a:gd name="T84" fmla="*/ 45 w 58"/>
                  <a:gd name="T85" fmla="*/ 45 h 69"/>
                  <a:gd name="T86" fmla="*/ 40 w 58"/>
                  <a:gd name="T87" fmla="*/ 56 h 69"/>
                  <a:gd name="T88" fmla="*/ 39 w 58"/>
                  <a:gd name="T89" fmla="*/ 57 h 69"/>
                  <a:gd name="T90" fmla="*/ 34 w 58"/>
                  <a:gd name="T91" fmla="*/ 61 h 69"/>
                  <a:gd name="T92" fmla="*/ 24 w 58"/>
                  <a:gd name="T93" fmla="*/ 61 h 69"/>
                  <a:gd name="T94" fmla="*/ 19 w 58"/>
                  <a:gd name="T95" fmla="*/ 57 h 69"/>
                  <a:gd name="T96" fmla="*/ 18 w 58"/>
                  <a:gd name="T97" fmla="*/ 55 h 69"/>
                  <a:gd name="T98" fmla="*/ 14 w 58"/>
                  <a:gd name="T99" fmla="*/ 46 h 69"/>
                  <a:gd name="T100" fmla="*/ 11 w 58"/>
                  <a:gd name="T101" fmla="*/ 44 h 69"/>
                  <a:gd name="T102" fmla="*/ 11 w 58"/>
                  <a:gd name="T103" fmla="*/ 44 h 69"/>
                  <a:gd name="T104" fmla="*/ 9 w 58"/>
                  <a:gd name="T105" fmla="*/ 42 h 69"/>
                  <a:gd name="T106" fmla="*/ 8 w 58"/>
                  <a:gd name="T107" fmla="*/ 38 h 69"/>
                  <a:gd name="T108" fmla="*/ 8 w 58"/>
                  <a:gd name="T109" fmla="*/ 3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69">
                    <a:moveTo>
                      <a:pt x="8" y="50"/>
                    </a:moveTo>
                    <a:cubicBezTo>
                      <a:pt x="8" y="51"/>
                      <a:pt x="9" y="53"/>
                      <a:pt x="10" y="55"/>
                    </a:cubicBezTo>
                    <a:cubicBezTo>
                      <a:pt x="11" y="56"/>
                      <a:pt x="11" y="56"/>
                      <a:pt x="12" y="57"/>
                    </a:cubicBezTo>
                    <a:cubicBezTo>
                      <a:pt x="12" y="58"/>
                      <a:pt x="12" y="58"/>
                      <a:pt x="12" y="58"/>
                    </a:cubicBezTo>
                    <a:cubicBezTo>
                      <a:pt x="13" y="59"/>
                      <a:pt x="14" y="60"/>
                      <a:pt x="14" y="61"/>
                    </a:cubicBezTo>
                    <a:cubicBezTo>
                      <a:pt x="15" y="62"/>
                      <a:pt x="16" y="63"/>
                      <a:pt x="16" y="63"/>
                    </a:cubicBezTo>
                    <a:cubicBezTo>
                      <a:pt x="20" y="67"/>
                      <a:pt x="25" y="69"/>
                      <a:pt x="29" y="69"/>
                    </a:cubicBezTo>
                    <a:cubicBezTo>
                      <a:pt x="34" y="69"/>
                      <a:pt x="38" y="67"/>
                      <a:pt x="42" y="64"/>
                    </a:cubicBezTo>
                    <a:cubicBezTo>
                      <a:pt x="42" y="63"/>
                      <a:pt x="43" y="62"/>
                      <a:pt x="44" y="61"/>
                    </a:cubicBezTo>
                    <a:cubicBezTo>
                      <a:pt x="45" y="60"/>
                      <a:pt x="45" y="59"/>
                      <a:pt x="46" y="58"/>
                    </a:cubicBezTo>
                    <a:cubicBezTo>
                      <a:pt x="47" y="57"/>
                      <a:pt x="48" y="55"/>
                      <a:pt x="48" y="54"/>
                    </a:cubicBezTo>
                    <a:cubicBezTo>
                      <a:pt x="49" y="52"/>
                      <a:pt x="50" y="51"/>
                      <a:pt x="50" y="50"/>
                    </a:cubicBezTo>
                    <a:cubicBezTo>
                      <a:pt x="54" y="48"/>
                      <a:pt x="56" y="43"/>
                      <a:pt x="57" y="39"/>
                    </a:cubicBezTo>
                    <a:cubicBezTo>
                      <a:pt x="58" y="35"/>
                      <a:pt x="57" y="32"/>
                      <a:pt x="56" y="30"/>
                    </a:cubicBezTo>
                    <a:cubicBezTo>
                      <a:pt x="55" y="29"/>
                      <a:pt x="55" y="29"/>
                      <a:pt x="55" y="29"/>
                    </a:cubicBezTo>
                    <a:cubicBezTo>
                      <a:pt x="56" y="22"/>
                      <a:pt x="55" y="16"/>
                      <a:pt x="51" y="10"/>
                    </a:cubicBezTo>
                    <a:cubicBezTo>
                      <a:pt x="46" y="4"/>
                      <a:pt x="38" y="0"/>
                      <a:pt x="29" y="0"/>
                    </a:cubicBezTo>
                    <a:cubicBezTo>
                      <a:pt x="20" y="0"/>
                      <a:pt x="12" y="4"/>
                      <a:pt x="7" y="10"/>
                    </a:cubicBezTo>
                    <a:cubicBezTo>
                      <a:pt x="3" y="16"/>
                      <a:pt x="2" y="22"/>
                      <a:pt x="3" y="29"/>
                    </a:cubicBezTo>
                    <a:cubicBezTo>
                      <a:pt x="3" y="29"/>
                      <a:pt x="3" y="29"/>
                      <a:pt x="3" y="30"/>
                    </a:cubicBezTo>
                    <a:cubicBezTo>
                      <a:pt x="1" y="32"/>
                      <a:pt x="0" y="35"/>
                      <a:pt x="1" y="39"/>
                    </a:cubicBezTo>
                    <a:cubicBezTo>
                      <a:pt x="2" y="43"/>
                      <a:pt x="4" y="48"/>
                      <a:pt x="8" y="50"/>
                    </a:cubicBezTo>
                    <a:close/>
                    <a:moveTo>
                      <a:pt x="8" y="34"/>
                    </a:moveTo>
                    <a:cubicBezTo>
                      <a:pt x="8" y="34"/>
                      <a:pt x="8" y="34"/>
                      <a:pt x="8" y="34"/>
                    </a:cubicBezTo>
                    <a:cubicBezTo>
                      <a:pt x="9" y="34"/>
                      <a:pt x="9" y="33"/>
                      <a:pt x="10" y="33"/>
                    </a:cubicBezTo>
                    <a:cubicBezTo>
                      <a:pt x="10" y="32"/>
                      <a:pt x="10" y="31"/>
                      <a:pt x="10" y="30"/>
                    </a:cubicBezTo>
                    <a:cubicBezTo>
                      <a:pt x="10" y="29"/>
                      <a:pt x="10" y="28"/>
                      <a:pt x="9" y="26"/>
                    </a:cubicBezTo>
                    <a:cubicBezTo>
                      <a:pt x="9" y="22"/>
                      <a:pt x="10" y="18"/>
                      <a:pt x="12" y="14"/>
                    </a:cubicBezTo>
                    <a:cubicBezTo>
                      <a:pt x="13" y="13"/>
                      <a:pt x="15" y="11"/>
                      <a:pt x="16" y="10"/>
                    </a:cubicBezTo>
                    <a:cubicBezTo>
                      <a:pt x="19" y="8"/>
                      <a:pt x="24" y="6"/>
                      <a:pt x="29" y="6"/>
                    </a:cubicBezTo>
                    <a:cubicBezTo>
                      <a:pt x="34" y="6"/>
                      <a:pt x="39" y="8"/>
                      <a:pt x="42" y="11"/>
                    </a:cubicBezTo>
                    <a:cubicBezTo>
                      <a:pt x="44" y="12"/>
                      <a:pt x="45" y="13"/>
                      <a:pt x="46" y="14"/>
                    </a:cubicBezTo>
                    <a:cubicBezTo>
                      <a:pt x="48" y="17"/>
                      <a:pt x="49" y="22"/>
                      <a:pt x="49" y="26"/>
                    </a:cubicBezTo>
                    <a:cubicBezTo>
                      <a:pt x="49" y="27"/>
                      <a:pt x="48" y="29"/>
                      <a:pt x="48" y="30"/>
                    </a:cubicBezTo>
                    <a:cubicBezTo>
                      <a:pt x="48" y="31"/>
                      <a:pt x="48" y="32"/>
                      <a:pt x="48" y="33"/>
                    </a:cubicBezTo>
                    <a:cubicBezTo>
                      <a:pt x="49" y="33"/>
                      <a:pt x="50" y="34"/>
                      <a:pt x="50" y="34"/>
                    </a:cubicBezTo>
                    <a:cubicBezTo>
                      <a:pt x="51" y="34"/>
                      <a:pt x="51" y="34"/>
                      <a:pt x="51" y="34"/>
                    </a:cubicBezTo>
                    <a:cubicBezTo>
                      <a:pt x="51" y="34"/>
                      <a:pt x="51" y="36"/>
                      <a:pt x="50" y="38"/>
                    </a:cubicBezTo>
                    <a:cubicBezTo>
                      <a:pt x="50" y="38"/>
                      <a:pt x="50" y="38"/>
                      <a:pt x="50" y="38"/>
                    </a:cubicBezTo>
                    <a:cubicBezTo>
                      <a:pt x="50" y="40"/>
                      <a:pt x="50" y="41"/>
                      <a:pt x="49" y="42"/>
                    </a:cubicBezTo>
                    <a:cubicBezTo>
                      <a:pt x="48" y="43"/>
                      <a:pt x="48" y="44"/>
                      <a:pt x="48" y="44"/>
                    </a:cubicBezTo>
                    <a:cubicBezTo>
                      <a:pt x="46" y="44"/>
                      <a:pt x="45" y="44"/>
                      <a:pt x="45" y="45"/>
                    </a:cubicBezTo>
                    <a:cubicBezTo>
                      <a:pt x="45" y="45"/>
                      <a:pt x="45" y="45"/>
                      <a:pt x="45" y="45"/>
                    </a:cubicBezTo>
                    <a:cubicBezTo>
                      <a:pt x="44" y="49"/>
                      <a:pt x="42" y="53"/>
                      <a:pt x="40" y="56"/>
                    </a:cubicBezTo>
                    <a:cubicBezTo>
                      <a:pt x="40" y="56"/>
                      <a:pt x="40" y="56"/>
                      <a:pt x="39" y="57"/>
                    </a:cubicBezTo>
                    <a:cubicBezTo>
                      <a:pt x="38" y="59"/>
                      <a:pt x="36" y="60"/>
                      <a:pt x="34" y="61"/>
                    </a:cubicBezTo>
                    <a:cubicBezTo>
                      <a:pt x="31" y="63"/>
                      <a:pt x="27" y="63"/>
                      <a:pt x="24" y="61"/>
                    </a:cubicBezTo>
                    <a:cubicBezTo>
                      <a:pt x="22" y="60"/>
                      <a:pt x="20" y="59"/>
                      <a:pt x="19" y="57"/>
                    </a:cubicBezTo>
                    <a:cubicBezTo>
                      <a:pt x="18" y="56"/>
                      <a:pt x="18" y="56"/>
                      <a:pt x="18" y="55"/>
                    </a:cubicBezTo>
                    <a:cubicBezTo>
                      <a:pt x="16" y="53"/>
                      <a:pt x="15" y="50"/>
                      <a:pt x="14" y="46"/>
                    </a:cubicBezTo>
                    <a:cubicBezTo>
                      <a:pt x="13" y="44"/>
                      <a:pt x="12" y="44"/>
                      <a:pt x="11" y="44"/>
                    </a:cubicBezTo>
                    <a:cubicBezTo>
                      <a:pt x="11" y="44"/>
                      <a:pt x="11" y="44"/>
                      <a:pt x="11" y="44"/>
                    </a:cubicBezTo>
                    <a:cubicBezTo>
                      <a:pt x="10" y="44"/>
                      <a:pt x="10" y="43"/>
                      <a:pt x="9" y="42"/>
                    </a:cubicBezTo>
                    <a:cubicBezTo>
                      <a:pt x="9" y="41"/>
                      <a:pt x="8" y="40"/>
                      <a:pt x="8" y="38"/>
                    </a:cubicBezTo>
                    <a:cubicBezTo>
                      <a:pt x="7" y="36"/>
                      <a:pt x="7" y="34"/>
                      <a:pt x="8"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198" name="Group 197">
            <a:extLst>
              <a:ext uri="{FF2B5EF4-FFF2-40B4-BE49-F238E27FC236}">
                <a16:creationId xmlns:a16="http://schemas.microsoft.com/office/drawing/2014/main" id="{73318BFD-5095-005E-9F44-437BA19D6596}"/>
              </a:ext>
              <a:ext uri="{C183D7F6-B498-43B3-948B-1728B52AA6E4}">
                <adec:decorative xmlns:adec="http://schemas.microsoft.com/office/drawing/2017/decorative" val="1"/>
              </a:ext>
            </a:extLst>
          </p:cNvPr>
          <p:cNvGrpSpPr/>
          <p:nvPr/>
        </p:nvGrpSpPr>
        <p:grpSpPr>
          <a:xfrm>
            <a:off x="8761923" y="3748155"/>
            <a:ext cx="442209" cy="442209"/>
            <a:chOff x="8761923" y="3998878"/>
            <a:chExt cx="442209" cy="442209"/>
          </a:xfrm>
        </p:grpSpPr>
        <p:sp>
          <p:nvSpPr>
            <p:cNvPr id="114" name="Oval 113">
              <a:extLst>
                <a:ext uri="{FF2B5EF4-FFF2-40B4-BE49-F238E27FC236}">
                  <a16:creationId xmlns:a16="http://schemas.microsoft.com/office/drawing/2014/main" id="{F8B83CEC-4973-5905-2CB3-5824A04B0751}"/>
                </a:ext>
              </a:extLst>
            </p:cNvPr>
            <p:cNvSpPr/>
            <p:nvPr/>
          </p:nvSpPr>
          <p:spPr>
            <a:xfrm>
              <a:off x="8761923" y="3998878"/>
              <a:ext cx="442209" cy="442209"/>
            </a:xfrm>
            <a:prstGeom prst="ellipse">
              <a:avLst/>
            </a:prstGeom>
            <a:solidFill>
              <a:schemeClr val="accent6"/>
            </a:solidFill>
            <a:ln w="349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grpSp>
          <p:nvGrpSpPr>
            <p:cNvPr id="173" name="Group 172">
              <a:extLst>
                <a:ext uri="{FF2B5EF4-FFF2-40B4-BE49-F238E27FC236}">
                  <a16:creationId xmlns:a16="http://schemas.microsoft.com/office/drawing/2014/main" id="{4D440A4A-4227-BD68-0266-97F7E0505FF8}"/>
                </a:ext>
              </a:extLst>
            </p:cNvPr>
            <p:cNvGrpSpPr>
              <a:grpSpLocks noChangeAspect="1"/>
            </p:cNvGrpSpPr>
            <p:nvPr/>
          </p:nvGrpSpPr>
          <p:grpSpPr>
            <a:xfrm>
              <a:off x="8893889" y="4097668"/>
              <a:ext cx="203878" cy="224332"/>
              <a:chOff x="7299325" y="4395788"/>
              <a:chExt cx="490538" cy="539751"/>
            </a:xfrm>
            <a:solidFill>
              <a:srgbClr val="FFFFFF"/>
            </a:solidFill>
          </p:grpSpPr>
          <p:sp>
            <p:nvSpPr>
              <p:cNvPr id="174" name="Freeform 6">
                <a:extLst>
                  <a:ext uri="{FF2B5EF4-FFF2-40B4-BE49-F238E27FC236}">
                    <a16:creationId xmlns:a16="http://schemas.microsoft.com/office/drawing/2014/main" id="{45AFF78B-4FED-A0ED-2B88-AE827DC1F201}"/>
                  </a:ext>
                </a:extLst>
              </p:cNvPr>
              <p:cNvSpPr>
                <a:spLocks/>
              </p:cNvSpPr>
              <p:nvPr/>
            </p:nvSpPr>
            <p:spPr bwMode="auto">
              <a:xfrm>
                <a:off x="7299325" y="4395788"/>
                <a:ext cx="338138" cy="466725"/>
              </a:xfrm>
              <a:custGeom>
                <a:avLst/>
                <a:gdLst>
                  <a:gd name="T0" fmla="*/ 8 w 107"/>
                  <a:gd name="T1" fmla="*/ 141 h 148"/>
                  <a:gd name="T2" fmla="*/ 8 w 107"/>
                  <a:gd name="T3" fmla="*/ 141 h 148"/>
                  <a:gd name="T4" fmla="*/ 32 w 107"/>
                  <a:gd name="T5" fmla="*/ 119 h 148"/>
                  <a:gd name="T6" fmla="*/ 32 w 107"/>
                  <a:gd name="T7" fmla="*/ 119 h 148"/>
                  <a:gd name="T8" fmla="*/ 43 w 107"/>
                  <a:gd name="T9" fmla="*/ 111 h 148"/>
                  <a:gd name="T10" fmla="*/ 43 w 107"/>
                  <a:gd name="T11" fmla="*/ 89 h 148"/>
                  <a:gd name="T12" fmla="*/ 43 w 107"/>
                  <a:gd name="T13" fmla="*/ 88 h 148"/>
                  <a:gd name="T14" fmla="*/ 36 w 107"/>
                  <a:gd name="T15" fmla="*/ 73 h 148"/>
                  <a:gd name="T16" fmla="*/ 33 w 107"/>
                  <a:gd name="T17" fmla="*/ 70 h 148"/>
                  <a:gd name="T18" fmla="*/ 27 w 107"/>
                  <a:gd name="T19" fmla="*/ 60 h 148"/>
                  <a:gd name="T20" fmla="*/ 27 w 107"/>
                  <a:gd name="T21" fmla="*/ 51 h 148"/>
                  <a:gd name="T22" fmla="*/ 27 w 107"/>
                  <a:gd name="T23" fmla="*/ 51 h 148"/>
                  <a:gd name="T24" fmla="*/ 30 w 107"/>
                  <a:gd name="T25" fmla="*/ 50 h 148"/>
                  <a:gd name="T26" fmla="*/ 31 w 107"/>
                  <a:gd name="T27" fmla="*/ 47 h 148"/>
                  <a:gd name="T28" fmla="*/ 35 w 107"/>
                  <a:gd name="T29" fmla="*/ 20 h 148"/>
                  <a:gd name="T30" fmla="*/ 63 w 107"/>
                  <a:gd name="T31" fmla="*/ 6 h 148"/>
                  <a:gd name="T32" fmla="*/ 91 w 107"/>
                  <a:gd name="T33" fmla="*/ 20 h 148"/>
                  <a:gd name="T34" fmla="*/ 95 w 107"/>
                  <a:gd name="T35" fmla="*/ 47 h 148"/>
                  <a:gd name="T36" fmla="*/ 96 w 107"/>
                  <a:gd name="T37" fmla="*/ 50 h 148"/>
                  <a:gd name="T38" fmla="*/ 98 w 107"/>
                  <a:gd name="T39" fmla="*/ 51 h 148"/>
                  <a:gd name="T40" fmla="*/ 99 w 107"/>
                  <a:gd name="T41" fmla="*/ 51 h 148"/>
                  <a:gd name="T42" fmla="*/ 99 w 107"/>
                  <a:gd name="T43" fmla="*/ 60 h 148"/>
                  <a:gd name="T44" fmla="*/ 93 w 107"/>
                  <a:gd name="T45" fmla="*/ 70 h 148"/>
                  <a:gd name="T46" fmla="*/ 90 w 107"/>
                  <a:gd name="T47" fmla="*/ 73 h 148"/>
                  <a:gd name="T48" fmla="*/ 83 w 107"/>
                  <a:gd name="T49" fmla="*/ 88 h 148"/>
                  <a:gd name="T50" fmla="*/ 83 w 107"/>
                  <a:gd name="T51" fmla="*/ 89 h 148"/>
                  <a:gd name="T52" fmla="*/ 83 w 107"/>
                  <a:gd name="T53" fmla="*/ 111 h 148"/>
                  <a:gd name="T54" fmla="*/ 91 w 107"/>
                  <a:gd name="T55" fmla="*/ 118 h 148"/>
                  <a:gd name="T56" fmla="*/ 91 w 107"/>
                  <a:gd name="T57" fmla="*/ 111 h 148"/>
                  <a:gd name="T58" fmla="*/ 89 w 107"/>
                  <a:gd name="T59" fmla="*/ 108 h 148"/>
                  <a:gd name="T60" fmla="*/ 89 w 107"/>
                  <a:gd name="T61" fmla="*/ 91 h 148"/>
                  <a:gd name="T62" fmla="*/ 89 w 107"/>
                  <a:gd name="T63" fmla="*/ 91 h 148"/>
                  <a:gd name="T64" fmla="*/ 95 w 107"/>
                  <a:gd name="T65" fmla="*/ 77 h 148"/>
                  <a:gd name="T66" fmla="*/ 95 w 107"/>
                  <a:gd name="T67" fmla="*/ 77 h 148"/>
                  <a:gd name="T68" fmla="*/ 106 w 107"/>
                  <a:gd name="T69" fmla="*/ 61 h 148"/>
                  <a:gd name="T70" fmla="*/ 104 w 107"/>
                  <a:gd name="T71" fmla="*/ 47 h 148"/>
                  <a:gd name="T72" fmla="*/ 103 w 107"/>
                  <a:gd name="T73" fmla="*/ 46 h 148"/>
                  <a:gd name="T74" fmla="*/ 103 w 107"/>
                  <a:gd name="T75" fmla="*/ 46 h 148"/>
                  <a:gd name="T76" fmla="*/ 103 w 107"/>
                  <a:gd name="T77" fmla="*/ 45 h 148"/>
                  <a:gd name="T78" fmla="*/ 97 w 107"/>
                  <a:gd name="T79" fmla="*/ 16 h 148"/>
                  <a:gd name="T80" fmla="*/ 63 w 107"/>
                  <a:gd name="T81" fmla="*/ 0 h 148"/>
                  <a:gd name="T82" fmla="*/ 29 w 107"/>
                  <a:gd name="T83" fmla="*/ 16 h 148"/>
                  <a:gd name="T84" fmla="*/ 23 w 107"/>
                  <a:gd name="T85" fmla="*/ 45 h 148"/>
                  <a:gd name="T86" fmla="*/ 23 w 107"/>
                  <a:gd name="T87" fmla="*/ 46 h 148"/>
                  <a:gd name="T88" fmla="*/ 23 w 107"/>
                  <a:gd name="T89" fmla="*/ 46 h 148"/>
                  <a:gd name="T90" fmla="*/ 22 w 107"/>
                  <a:gd name="T91" fmla="*/ 47 h 148"/>
                  <a:gd name="T92" fmla="*/ 20 w 107"/>
                  <a:gd name="T93" fmla="*/ 61 h 148"/>
                  <a:gd name="T94" fmla="*/ 31 w 107"/>
                  <a:gd name="T95" fmla="*/ 77 h 148"/>
                  <a:gd name="T96" fmla="*/ 31 w 107"/>
                  <a:gd name="T97" fmla="*/ 77 h 148"/>
                  <a:gd name="T98" fmla="*/ 37 w 107"/>
                  <a:gd name="T99" fmla="*/ 91 h 148"/>
                  <a:gd name="T100" fmla="*/ 37 w 107"/>
                  <a:gd name="T101" fmla="*/ 91 h 148"/>
                  <a:gd name="T102" fmla="*/ 37 w 107"/>
                  <a:gd name="T103" fmla="*/ 108 h 148"/>
                  <a:gd name="T104" fmla="*/ 29 w 107"/>
                  <a:gd name="T105" fmla="*/ 113 h 148"/>
                  <a:gd name="T106" fmla="*/ 29 w 107"/>
                  <a:gd name="T107" fmla="*/ 113 h 148"/>
                  <a:gd name="T108" fmla="*/ 0 w 107"/>
                  <a:gd name="T109" fmla="*/ 144 h 148"/>
                  <a:gd name="T110" fmla="*/ 4 w 107"/>
                  <a:gd name="T111" fmla="*/ 148 h 148"/>
                  <a:gd name="T112" fmla="*/ 91 w 107"/>
                  <a:gd name="T113" fmla="*/ 148 h 148"/>
                  <a:gd name="T114" fmla="*/ 91 w 107"/>
                  <a:gd name="T115" fmla="*/ 141 h 148"/>
                  <a:gd name="T116" fmla="*/ 8 w 107"/>
                  <a:gd name="T117" fmla="*/ 14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7" h="148">
                    <a:moveTo>
                      <a:pt x="8" y="141"/>
                    </a:moveTo>
                    <a:cubicBezTo>
                      <a:pt x="8" y="141"/>
                      <a:pt x="8" y="141"/>
                      <a:pt x="8" y="141"/>
                    </a:cubicBezTo>
                    <a:cubicBezTo>
                      <a:pt x="10" y="131"/>
                      <a:pt x="18" y="123"/>
                      <a:pt x="32" y="119"/>
                    </a:cubicBezTo>
                    <a:cubicBezTo>
                      <a:pt x="32" y="119"/>
                      <a:pt x="32" y="119"/>
                      <a:pt x="32" y="119"/>
                    </a:cubicBezTo>
                    <a:cubicBezTo>
                      <a:pt x="38" y="117"/>
                      <a:pt x="42" y="115"/>
                      <a:pt x="43" y="111"/>
                    </a:cubicBezTo>
                    <a:cubicBezTo>
                      <a:pt x="46" y="104"/>
                      <a:pt x="44" y="92"/>
                      <a:pt x="43" y="89"/>
                    </a:cubicBezTo>
                    <a:cubicBezTo>
                      <a:pt x="43" y="89"/>
                      <a:pt x="43" y="89"/>
                      <a:pt x="43" y="88"/>
                    </a:cubicBezTo>
                    <a:cubicBezTo>
                      <a:pt x="40" y="84"/>
                      <a:pt x="38" y="79"/>
                      <a:pt x="36" y="73"/>
                    </a:cubicBezTo>
                    <a:cubicBezTo>
                      <a:pt x="36" y="71"/>
                      <a:pt x="35" y="70"/>
                      <a:pt x="33" y="70"/>
                    </a:cubicBezTo>
                    <a:cubicBezTo>
                      <a:pt x="31" y="70"/>
                      <a:pt x="28" y="66"/>
                      <a:pt x="27" y="60"/>
                    </a:cubicBezTo>
                    <a:cubicBezTo>
                      <a:pt x="26" y="53"/>
                      <a:pt x="27" y="52"/>
                      <a:pt x="27" y="51"/>
                    </a:cubicBezTo>
                    <a:cubicBezTo>
                      <a:pt x="27" y="51"/>
                      <a:pt x="27" y="51"/>
                      <a:pt x="27" y="51"/>
                    </a:cubicBezTo>
                    <a:cubicBezTo>
                      <a:pt x="29" y="51"/>
                      <a:pt x="30" y="51"/>
                      <a:pt x="30" y="50"/>
                    </a:cubicBezTo>
                    <a:cubicBezTo>
                      <a:pt x="31" y="49"/>
                      <a:pt x="31" y="48"/>
                      <a:pt x="31" y="47"/>
                    </a:cubicBezTo>
                    <a:cubicBezTo>
                      <a:pt x="28" y="37"/>
                      <a:pt x="29" y="27"/>
                      <a:pt x="35" y="20"/>
                    </a:cubicBezTo>
                    <a:cubicBezTo>
                      <a:pt x="41" y="11"/>
                      <a:pt x="51" y="6"/>
                      <a:pt x="63" y="6"/>
                    </a:cubicBezTo>
                    <a:cubicBezTo>
                      <a:pt x="75" y="6"/>
                      <a:pt x="85" y="11"/>
                      <a:pt x="91" y="20"/>
                    </a:cubicBezTo>
                    <a:cubicBezTo>
                      <a:pt x="97" y="27"/>
                      <a:pt x="98" y="37"/>
                      <a:pt x="95" y="47"/>
                    </a:cubicBezTo>
                    <a:cubicBezTo>
                      <a:pt x="95" y="48"/>
                      <a:pt x="95" y="49"/>
                      <a:pt x="96" y="50"/>
                    </a:cubicBezTo>
                    <a:cubicBezTo>
                      <a:pt x="96" y="51"/>
                      <a:pt x="97" y="51"/>
                      <a:pt x="98" y="51"/>
                    </a:cubicBezTo>
                    <a:cubicBezTo>
                      <a:pt x="99" y="51"/>
                      <a:pt x="99" y="51"/>
                      <a:pt x="99" y="51"/>
                    </a:cubicBezTo>
                    <a:cubicBezTo>
                      <a:pt x="99" y="52"/>
                      <a:pt x="100" y="53"/>
                      <a:pt x="99" y="60"/>
                    </a:cubicBezTo>
                    <a:cubicBezTo>
                      <a:pt x="98" y="66"/>
                      <a:pt x="95" y="70"/>
                      <a:pt x="93" y="70"/>
                    </a:cubicBezTo>
                    <a:cubicBezTo>
                      <a:pt x="91" y="70"/>
                      <a:pt x="90" y="71"/>
                      <a:pt x="90" y="73"/>
                    </a:cubicBezTo>
                    <a:cubicBezTo>
                      <a:pt x="88" y="79"/>
                      <a:pt x="86" y="84"/>
                      <a:pt x="83" y="88"/>
                    </a:cubicBezTo>
                    <a:cubicBezTo>
                      <a:pt x="83" y="89"/>
                      <a:pt x="83" y="89"/>
                      <a:pt x="83" y="89"/>
                    </a:cubicBezTo>
                    <a:cubicBezTo>
                      <a:pt x="82" y="92"/>
                      <a:pt x="80" y="104"/>
                      <a:pt x="83" y="111"/>
                    </a:cubicBezTo>
                    <a:cubicBezTo>
                      <a:pt x="84" y="114"/>
                      <a:pt x="86" y="116"/>
                      <a:pt x="91" y="118"/>
                    </a:cubicBezTo>
                    <a:cubicBezTo>
                      <a:pt x="91" y="111"/>
                      <a:pt x="91" y="111"/>
                      <a:pt x="91" y="111"/>
                    </a:cubicBezTo>
                    <a:cubicBezTo>
                      <a:pt x="89" y="110"/>
                      <a:pt x="89" y="109"/>
                      <a:pt x="89" y="108"/>
                    </a:cubicBezTo>
                    <a:cubicBezTo>
                      <a:pt x="87" y="105"/>
                      <a:pt x="88" y="96"/>
                      <a:pt x="89" y="91"/>
                    </a:cubicBezTo>
                    <a:cubicBezTo>
                      <a:pt x="89" y="91"/>
                      <a:pt x="89" y="91"/>
                      <a:pt x="89" y="91"/>
                    </a:cubicBezTo>
                    <a:cubicBezTo>
                      <a:pt x="91" y="87"/>
                      <a:pt x="94" y="82"/>
                      <a:pt x="95" y="77"/>
                    </a:cubicBezTo>
                    <a:cubicBezTo>
                      <a:pt x="95" y="77"/>
                      <a:pt x="95" y="77"/>
                      <a:pt x="95" y="77"/>
                    </a:cubicBezTo>
                    <a:cubicBezTo>
                      <a:pt x="101" y="75"/>
                      <a:pt x="105" y="67"/>
                      <a:pt x="106" y="61"/>
                    </a:cubicBezTo>
                    <a:cubicBezTo>
                      <a:pt x="107" y="54"/>
                      <a:pt x="106" y="50"/>
                      <a:pt x="104" y="47"/>
                    </a:cubicBezTo>
                    <a:cubicBezTo>
                      <a:pt x="104" y="46"/>
                      <a:pt x="103" y="46"/>
                      <a:pt x="103" y="46"/>
                    </a:cubicBezTo>
                    <a:cubicBezTo>
                      <a:pt x="103" y="46"/>
                      <a:pt x="103" y="46"/>
                      <a:pt x="103" y="46"/>
                    </a:cubicBezTo>
                    <a:cubicBezTo>
                      <a:pt x="103" y="45"/>
                      <a:pt x="103" y="45"/>
                      <a:pt x="103" y="45"/>
                    </a:cubicBezTo>
                    <a:cubicBezTo>
                      <a:pt x="105" y="35"/>
                      <a:pt x="103" y="24"/>
                      <a:pt x="97" y="16"/>
                    </a:cubicBezTo>
                    <a:cubicBezTo>
                      <a:pt x="89" y="5"/>
                      <a:pt x="77" y="0"/>
                      <a:pt x="63" y="0"/>
                    </a:cubicBezTo>
                    <a:cubicBezTo>
                      <a:pt x="49" y="0"/>
                      <a:pt x="37" y="5"/>
                      <a:pt x="29" y="16"/>
                    </a:cubicBezTo>
                    <a:cubicBezTo>
                      <a:pt x="23" y="24"/>
                      <a:pt x="21" y="35"/>
                      <a:pt x="23" y="45"/>
                    </a:cubicBezTo>
                    <a:cubicBezTo>
                      <a:pt x="23" y="46"/>
                      <a:pt x="23" y="46"/>
                      <a:pt x="23" y="46"/>
                    </a:cubicBezTo>
                    <a:cubicBezTo>
                      <a:pt x="23" y="46"/>
                      <a:pt x="23" y="46"/>
                      <a:pt x="23" y="46"/>
                    </a:cubicBezTo>
                    <a:cubicBezTo>
                      <a:pt x="23" y="46"/>
                      <a:pt x="22" y="46"/>
                      <a:pt x="22" y="47"/>
                    </a:cubicBezTo>
                    <a:cubicBezTo>
                      <a:pt x="20" y="50"/>
                      <a:pt x="19" y="54"/>
                      <a:pt x="20" y="61"/>
                    </a:cubicBezTo>
                    <a:cubicBezTo>
                      <a:pt x="21" y="67"/>
                      <a:pt x="25" y="75"/>
                      <a:pt x="31" y="77"/>
                    </a:cubicBezTo>
                    <a:cubicBezTo>
                      <a:pt x="31" y="77"/>
                      <a:pt x="31" y="77"/>
                      <a:pt x="31" y="77"/>
                    </a:cubicBezTo>
                    <a:cubicBezTo>
                      <a:pt x="32" y="82"/>
                      <a:pt x="35" y="87"/>
                      <a:pt x="37" y="91"/>
                    </a:cubicBezTo>
                    <a:cubicBezTo>
                      <a:pt x="37" y="91"/>
                      <a:pt x="37" y="91"/>
                      <a:pt x="37" y="91"/>
                    </a:cubicBezTo>
                    <a:cubicBezTo>
                      <a:pt x="37" y="92"/>
                      <a:pt x="39" y="104"/>
                      <a:pt x="37" y="108"/>
                    </a:cubicBezTo>
                    <a:cubicBezTo>
                      <a:pt x="37" y="110"/>
                      <a:pt x="33" y="111"/>
                      <a:pt x="29" y="113"/>
                    </a:cubicBezTo>
                    <a:cubicBezTo>
                      <a:pt x="29" y="113"/>
                      <a:pt x="29" y="113"/>
                      <a:pt x="29" y="113"/>
                    </a:cubicBezTo>
                    <a:cubicBezTo>
                      <a:pt x="19" y="117"/>
                      <a:pt x="0" y="124"/>
                      <a:pt x="0" y="144"/>
                    </a:cubicBezTo>
                    <a:cubicBezTo>
                      <a:pt x="0" y="144"/>
                      <a:pt x="0" y="148"/>
                      <a:pt x="4" y="148"/>
                    </a:cubicBezTo>
                    <a:cubicBezTo>
                      <a:pt x="91" y="148"/>
                      <a:pt x="91" y="148"/>
                      <a:pt x="91" y="148"/>
                    </a:cubicBezTo>
                    <a:cubicBezTo>
                      <a:pt x="91" y="141"/>
                      <a:pt x="91" y="141"/>
                      <a:pt x="91" y="141"/>
                    </a:cubicBezTo>
                    <a:lnTo>
                      <a:pt x="8"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5" name="Freeform 7">
                <a:extLst>
                  <a:ext uri="{FF2B5EF4-FFF2-40B4-BE49-F238E27FC236}">
                    <a16:creationId xmlns:a16="http://schemas.microsoft.com/office/drawing/2014/main" id="{824A573E-E9BD-6B65-4B03-43E67F2D1DE6}"/>
                  </a:ext>
                </a:extLst>
              </p:cNvPr>
              <p:cNvSpPr>
                <a:spLocks/>
              </p:cNvSpPr>
              <p:nvPr/>
            </p:nvSpPr>
            <p:spPr bwMode="auto">
              <a:xfrm>
                <a:off x="7656513" y="4775201"/>
                <a:ext cx="107950" cy="11113"/>
              </a:xfrm>
              <a:custGeom>
                <a:avLst/>
                <a:gdLst>
                  <a:gd name="T0" fmla="*/ 32 w 34"/>
                  <a:gd name="T1" fmla="*/ 0 h 4"/>
                  <a:gd name="T2" fmla="*/ 2 w 34"/>
                  <a:gd name="T3" fmla="*/ 0 h 4"/>
                  <a:gd name="T4" fmla="*/ 0 w 34"/>
                  <a:gd name="T5" fmla="*/ 2 h 4"/>
                  <a:gd name="T6" fmla="*/ 2 w 34"/>
                  <a:gd name="T7" fmla="*/ 4 h 4"/>
                  <a:gd name="T8" fmla="*/ 32 w 34"/>
                  <a:gd name="T9" fmla="*/ 4 h 4"/>
                  <a:gd name="T10" fmla="*/ 34 w 34"/>
                  <a:gd name="T11" fmla="*/ 2 h 4"/>
                  <a:gd name="T12" fmla="*/ 32 w 3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4" h="4">
                    <a:moveTo>
                      <a:pt x="32" y="0"/>
                    </a:moveTo>
                    <a:cubicBezTo>
                      <a:pt x="2" y="0"/>
                      <a:pt x="2" y="0"/>
                      <a:pt x="2" y="0"/>
                    </a:cubicBezTo>
                    <a:cubicBezTo>
                      <a:pt x="0" y="0"/>
                      <a:pt x="0" y="1"/>
                      <a:pt x="0" y="2"/>
                    </a:cubicBezTo>
                    <a:cubicBezTo>
                      <a:pt x="0" y="4"/>
                      <a:pt x="0" y="4"/>
                      <a:pt x="2" y="4"/>
                    </a:cubicBezTo>
                    <a:cubicBezTo>
                      <a:pt x="32" y="4"/>
                      <a:pt x="32" y="4"/>
                      <a:pt x="32" y="4"/>
                    </a:cubicBezTo>
                    <a:cubicBezTo>
                      <a:pt x="33" y="4"/>
                      <a:pt x="34" y="3"/>
                      <a:pt x="34" y="2"/>
                    </a:cubicBezTo>
                    <a:cubicBezTo>
                      <a:pt x="34" y="1"/>
                      <a:pt x="33"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6" name="Freeform 8">
                <a:extLst>
                  <a:ext uri="{FF2B5EF4-FFF2-40B4-BE49-F238E27FC236}">
                    <a16:creationId xmlns:a16="http://schemas.microsoft.com/office/drawing/2014/main" id="{CDBCFD16-73CE-EB13-DE91-60F97B483081}"/>
                  </a:ext>
                </a:extLst>
              </p:cNvPr>
              <p:cNvSpPr>
                <a:spLocks/>
              </p:cNvSpPr>
              <p:nvPr/>
            </p:nvSpPr>
            <p:spPr bwMode="auto">
              <a:xfrm>
                <a:off x="7656513" y="4818063"/>
                <a:ext cx="107950" cy="15875"/>
              </a:xfrm>
              <a:custGeom>
                <a:avLst/>
                <a:gdLst>
                  <a:gd name="T0" fmla="*/ 32 w 34"/>
                  <a:gd name="T1" fmla="*/ 0 h 5"/>
                  <a:gd name="T2" fmla="*/ 2 w 34"/>
                  <a:gd name="T3" fmla="*/ 0 h 5"/>
                  <a:gd name="T4" fmla="*/ 0 w 34"/>
                  <a:gd name="T5" fmla="*/ 3 h 5"/>
                  <a:gd name="T6" fmla="*/ 2 w 34"/>
                  <a:gd name="T7" fmla="*/ 5 h 5"/>
                  <a:gd name="T8" fmla="*/ 32 w 34"/>
                  <a:gd name="T9" fmla="*/ 5 h 5"/>
                  <a:gd name="T10" fmla="*/ 34 w 34"/>
                  <a:gd name="T11" fmla="*/ 3 h 5"/>
                  <a:gd name="T12" fmla="*/ 32 w 3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4" h="5">
                    <a:moveTo>
                      <a:pt x="32" y="0"/>
                    </a:moveTo>
                    <a:cubicBezTo>
                      <a:pt x="2" y="0"/>
                      <a:pt x="2" y="0"/>
                      <a:pt x="2" y="0"/>
                    </a:cubicBezTo>
                    <a:cubicBezTo>
                      <a:pt x="0" y="0"/>
                      <a:pt x="0" y="1"/>
                      <a:pt x="0" y="3"/>
                    </a:cubicBezTo>
                    <a:cubicBezTo>
                      <a:pt x="0" y="4"/>
                      <a:pt x="0" y="5"/>
                      <a:pt x="2" y="5"/>
                    </a:cubicBezTo>
                    <a:cubicBezTo>
                      <a:pt x="32" y="5"/>
                      <a:pt x="32" y="5"/>
                      <a:pt x="32" y="5"/>
                    </a:cubicBezTo>
                    <a:cubicBezTo>
                      <a:pt x="33" y="5"/>
                      <a:pt x="34" y="4"/>
                      <a:pt x="34" y="3"/>
                    </a:cubicBezTo>
                    <a:cubicBezTo>
                      <a:pt x="34" y="1"/>
                      <a:pt x="33"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7" name="Freeform 9">
                <a:extLst>
                  <a:ext uri="{FF2B5EF4-FFF2-40B4-BE49-F238E27FC236}">
                    <a16:creationId xmlns:a16="http://schemas.microsoft.com/office/drawing/2014/main" id="{6BB52663-F277-B907-7CFE-5E87C6F9B154}"/>
                  </a:ext>
                </a:extLst>
              </p:cNvPr>
              <p:cNvSpPr>
                <a:spLocks/>
              </p:cNvSpPr>
              <p:nvPr/>
            </p:nvSpPr>
            <p:spPr bwMode="auto">
              <a:xfrm>
                <a:off x="7656513" y="4865688"/>
                <a:ext cx="107950" cy="12700"/>
              </a:xfrm>
              <a:custGeom>
                <a:avLst/>
                <a:gdLst>
                  <a:gd name="T0" fmla="*/ 32 w 34"/>
                  <a:gd name="T1" fmla="*/ 0 h 4"/>
                  <a:gd name="T2" fmla="*/ 2 w 34"/>
                  <a:gd name="T3" fmla="*/ 0 h 4"/>
                  <a:gd name="T4" fmla="*/ 0 w 34"/>
                  <a:gd name="T5" fmla="*/ 2 h 4"/>
                  <a:gd name="T6" fmla="*/ 2 w 34"/>
                  <a:gd name="T7" fmla="*/ 4 h 4"/>
                  <a:gd name="T8" fmla="*/ 32 w 34"/>
                  <a:gd name="T9" fmla="*/ 4 h 4"/>
                  <a:gd name="T10" fmla="*/ 34 w 34"/>
                  <a:gd name="T11" fmla="*/ 2 h 4"/>
                  <a:gd name="T12" fmla="*/ 32 w 3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4" h="4">
                    <a:moveTo>
                      <a:pt x="32" y="0"/>
                    </a:moveTo>
                    <a:cubicBezTo>
                      <a:pt x="2" y="0"/>
                      <a:pt x="2" y="0"/>
                      <a:pt x="2" y="0"/>
                    </a:cubicBezTo>
                    <a:cubicBezTo>
                      <a:pt x="0" y="0"/>
                      <a:pt x="0" y="1"/>
                      <a:pt x="0" y="2"/>
                    </a:cubicBezTo>
                    <a:cubicBezTo>
                      <a:pt x="0" y="3"/>
                      <a:pt x="0" y="4"/>
                      <a:pt x="2" y="4"/>
                    </a:cubicBezTo>
                    <a:cubicBezTo>
                      <a:pt x="32" y="4"/>
                      <a:pt x="32" y="4"/>
                      <a:pt x="32" y="4"/>
                    </a:cubicBezTo>
                    <a:cubicBezTo>
                      <a:pt x="33" y="4"/>
                      <a:pt x="34" y="3"/>
                      <a:pt x="34" y="2"/>
                    </a:cubicBezTo>
                    <a:cubicBezTo>
                      <a:pt x="34" y="1"/>
                      <a:pt x="33" y="0"/>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8" name="Oval 10">
                <a:extLst>
                  <a:ext uri="{FF2B5EF4-FFF2-40B4-BE49-F238E27FC236}">
                    <a16:creationId xmlns:a16="http://schemas.microsoft.com/office/drawing/2014/main" id="{47EECFC3-EB97-7574-20FF-771498199670}"/>
                  </a:ext>
                </a:extLst>
              </p:cNvPr>
              <p:cNvSpPr>
                <a:spLocks noChangeArrowheads="1"/>
              </p:cNvSpPr>
              <p:nvPr/>
            </p:nvSpPr>
            <p:spPr bwMode="auto">
              <a:xfrm>
                <a:off x="7624763" y="4772026"/>
                <a:ext cx="19050" cy="206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9" name="Oval 11">
                <a:extLst>
                  <a:ext uri="{FF2B5EF4-FFF2-40B4-BE49-F238E27FC236}">
                    <a16:creationId xmlns:a16="http://schemas.microsoft.com/office/drawing/2014/main" id="{2EA52B9E-F9E5-C018-C738-B59174CD6ABF}"/>
                  </a:ext>
                </a:extLst>
              </p:cNvPr>
              <p:cNvSpPr>
                <a:spLocks noChangeArrowheads="1"/>
              </p:cNvSpPr>
              <p:nvPr/>
            </p:nvSpPr>
            <p:spPr bwMode="auto">
              <a:xfrm>
                <a:off x="7624763" y="4814888"/>
                <a:ext cx="19050" cy="222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80" name="Oval 12">
                <a:extLst>
                  <a:ext uri="{FF2B5EF4-FFF2-40B4-BE49-F238E27FC236}">
                    <a16:creationId xmlns:a16="http://schemas.microsoft.com/office/drawing/2014/main" id="{956F2221-6765-6BA3-BC6F-99F94B7D119D}"/>
                  </a:ext>
                </a:extLst>
              </p:cNvPr>
              <p:cNvSpPr>
                <a:spLocks noChangeArrowheads="1"/>
              </p:cNvSpPr>
              <p:nvPr/>
            </p:nvSpPr>
            <p:spPr bwMode="auto">
              <a:xfrm>
                <a:off x="7624763" y="4862513"/>
                <a:ext cx="19050" cy="190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81" name="Freeform 13">
                <a:extLst>
                  <a:ext uri="{FF2B5EF4-FFF2-40B4-BE49-F238E27FC236}">
                    <a16:creationId xmlns:a16="http://schemas.microsoft.com/office/drawing/2014/main" id="{39EDC92E-F37E-FAC6-52C9-842FFB0B2CD7}"/>
                  </a:ext>
                </a:extLst>
              </p:cNvPr>
              <p:cNvSpPr>
                <a:spLocks noEditPoints="1"/>
              </p:cNvSpPr>
              <p:nvPr/>
            </p:nvSpPr>
            <p:spPr bwMode="auto">
              <a:xfrm>
                <a:off x="7599363" y="4660901"/>
                <a:ext cx="190500" cy="274638"/>
              </a:xfrm>
              <a:custGeom>
                <a:avLst/>
                <a:gdLst>
                  <a:gd name="T0" fmla="*/ 52 w 60"/>
                  <a:gd name="T1" fmla="*/ 12 h 87"/>
                  <a:gd name="T2" fmla="*/ 46 w 60"/>
                  <a:gd name="T3" fmla="*/ 12 h 87"/>
                  <a:gd name="T4" fmla="*/ 46 w 60"/>
                  <a:gd name="T5" fmla="*/ 9 h 87"/>
                  <a:gd name="T6" fmla="*/ 41 w 60"/>
                  <a:gd name="T7" fmla="*/ 4 h 87"/>
                  <a:gd name="T8" fmla="*/ 34 w 60"/>
                  <a:gd name="T9" fmla="*/ 4 h 87"/>
                  <a:gd name="T10" fmla="*/ 30 w 60"/>
                  <a:gd name="T11" fmla="*/ 0 h 87"/>
                  <a:gd name="T12" fmla="*/ 26 w 60"/>
                  <a:gd name="T13" fmla="*/ 4 h 87"/>
                  <a:gd name="T14" fmla="*/ 18 w 60"/>
                  <a:gd name="T15" fmla="*/ 4 h 87"/>
                  <a:gd name="T16" fmla="*/ 14 w 60"/>
                  <a:gd name="T17" fmla="*/ 9 h 87"/>
                  <a:gd name="T18" fmla="*/ 14 w 60"/>
                  <a:gd name="T19" fmla="*/ 12 h 87"/>
                  <a:gd name="T20" fmla="*/ 7 w 60"/>
                  <a:gd name="T21" fmla="*/ 12 h 87"/>
                  <a:gd name="T22" fmla="*/ 7 w 60"/>
                  <a:gd name="T23" fmla="*/ 12 h 87"/>
                  <a:gd name="T24" fmla="*/ 0 w 60"/>
                  <a:gd name="T25" fmla="*/ 20 h 87"/>
                  <a:gd name="T26" fmla="*/ 0 w 60"/>
                  <a:gd name="T27" fmla="*/ 79 h 87"/>
                  <a:gd name="T28" fmla="*/ 8 w 60"/>
                  <a:gd name="T29" fmla="*/ 87 h 87"/>
                  <a:gd name="T30" fmla="*/ 52 w 60"/>
                  <a:gd name="T31" fmla="*/ 87 h 87"/>
                  <a:gd name="T32" fmla="*/ 52 w 60"/>
                  <a:gd name="T33" fmla="*/ 87 h 87"/>
                  <a:gd name="T34" fmla="*/ 60 w 60"/>
                  <a:gd name="T35" fmla="*/ 79 h 87"/>
                  <a:gd name="T36" fmla="*/ 60 w 60"/>
                  <a:gd name="T37" fmla="*/ 20 h 87"/>
                  <a:gd name="T38" fmla="*/ 52 w 60"/>
                  <a:gd name="T39" fmla="*/ 12 h 87"/>
                  <a:gd name="T40" fmla="*/ 18 w 60"/>
                  <a:gd name="T41" fmla="*/ 9 h 87"/>
                  <a:gd name="T42" fmla="*/ 41 w 60"/>
                  <a:gd name="T43" fmla="*/ 9 h 87"/>
                  <a:gd name="T44" fmla="*/ 41 w 60"/>
                  <a:gd name="T45" fmla="*/ 16 h 87"/>
                  <a:gd name="T46" fmla="*/ 18 w 60"/>
                  <a:gd name="T47" fmla="*/ 16 h 87"/>
                  <a:gd name="T48" fmla="*/ 18 w 60"/>
                  <a:gd name="T49" fmla="*/ 9 h 87"/>
                  <a:gd name="T50" fmla="*/ 55 w 60"/>
                  <a:gd name="T51" fmla="*/ 79 h 87"/>
                  <a:gd name="T52" fmla="*/ 52 w 60"/>
                  <a:gd name="T53" fmla="*/ 82 h 87"/>
                  <a:gd name="T54" fmla="*/ 8 w 60"/>
                  <a:gd name="T55" fmla="*/ 82 h 87"/>
                  <a:gd name="T56" fmla="*/ 5 w 60"/>
                  <a:gd name="T57" fmla="*/ 79 h 87"/>
                  <a:gd name="T58" fmla="*/ 5 w 60"/>
                  <a:gd name="T59" fmla="*/ 20 h 87"/>
                  <a:gd name="T60" fmla="*/ 8 w 60"/>
                  <a:gd name="T61" fmla="*/ 16 h 87"/>
                  <a:gd name="T62" fmla="*/ 14 w 60"/>
                  <a:gd name="T63" fmla="*/ 16 h 87"/>
                  <a:gd name="T64" fmla="*/ 18 w 60"/>
                  <a:gd name="T65" fmla="*/ 21 h 87"/>
                  <a:gd name="T66" fmla="*/ 41 w 60"/>
                  <a:gd name="T67" fmla="*/ 21 h 87"/>
                  <a:gd name="T68" fmla="*/ 46 w 60"/>
                  <a:gd name="T69" fmla="*/ 16 h 87"/>
                  <a:gd name="T70" fmla="*/ 52 w 60"/>
                  <a:gd name="T71" fmla="*/ 16 h 87"/>
                  <a:gd name="T72" fmla="*/ 55 w 60"/>
                  <a:gd name="T73" fmla="*/ 20 h 87"/>
                  <a:gd name="T74" fmla="*/ 55 w 60"/>
                  <a:gd name="T75" fmla="*/ 7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87">
                    <a:moveTo>
                      <a:pt x="52" y="12"/>
                    </a:moveTo>
                    <a:cubicBezTo>
                      <a:pt x="46" y="12"/>
                      <a:pt x="46" y="12"/>
                      <a:pt x="46" y="12"/>
                    </a:cubicBezTo>
                    <a:cubicBezTo>
                      <a:pt x="46" y="9"/>
                      <a:pt x="46" y="9"/>
                      <a:pt x="46" y="9"/>
                    </a:cubicBezTo>
                    <a:cubicBezTo>
                      <a:pt x="46" y="6"/>
                      <a:pt x="44" y="4"/>
                      <a:pt x="41" y="4"/>
                    </a:cubicBezTo>
                    <a:cubicBezTo>
                      <a:pt x="34" y="4"/>
                      <a:pt x="34" y="4"/>
                      <a:pt x="34" y="4"/>
                    </a:cubicBezTo>
                    <a:cubicBezTo>
                      <a:pt x="34" y="2"/>
                      <a:pt x="32" y="0"/>
                      <a:pt x="30" y="0"/>
                    </a:cubicBezTo>
                    <a:cubicBezTo>
                      <a:pt x="27" y="0"/>
                      <a:pt x="26" y="2"/>
                      <a:pt x="26" y="4"/>
                    </a:cubicBezTo>
                    <a:cubicBezTo>
                      <a:pt x="18" y="4"/>
                      <a:pt x="18" y="4"/>
                      <a:pt x="18" y="4"/>
                    </a:cubicBezTo>
                    <a:cubicBezTo>
                      <a:pt x="16" y="4"/>
                      <a:pt x="14" y="6"/>
                      <a:pt x="14" y="9"/>
                    </a:cubicBezTo>
                    <a:cubicBezTo>
                      <a:pt x="14" y="12"/>
                      <a:pt x="14" y="12"/>
                      <a:pt x="14" y="12"/>
                    </a:cubicBezTo>
                    <a:cubicBezTo>
                      <a:pt x="7" y="12"/>
                      <a:pt x="7" y="12"/>
                      <a:pt x="7" y="12"/>
                    </a:cubicBezTo>
                    <a:cubicBezTo>
                      <a:pt x="7" y="12"/>
                      <a:pt x="7" y="12"/>
                      <a:pt x="7" y="12"/>
                    </a:cubicBezTo>
                    <a:cubicBezTo>
                      <a:pt x="3" y="12"/>
                      <a:pt x="0" y="16"/>
                      <a:pt x="0" y="20"/>
                    </a:cubicBezTo>
                    <a:cubicBezTo>
                      <a:pt x="0" y="79"/>
                      <a:pt x="0" y="79"/>
                      <a:pt x="0" y="79"/>
                    </a:cubicBezTo>
                    <a:cubicBezTo>
                      <a:pt x="0" y="83"/>
                      <a:pt x="3" y="87"/>
                      <a:pt x="8" y="87"/>
                    </a:cubicBezTo>
                    <a:cubicBezTo>
                      <a:pt x="52" y="87"/>
                      <a:pt x="52" y="87"/>
                      <a:pt x="52" y="87"/>
                    </a:cubicBezTo>
                    <a:cubicBezTo>
                      <a:pt x="52" y="87"/>
                      <a:pt x="52" y="87"/>
                      <a:pt x="52" y="87"/>
                    </a:cubicBezTo>
                    <a:cubicBezTo>
                      <a:pt x="56" y="87"/>
                      <a:pt x="60" y="83"/>
                      <a:pt x="60" y="79"/>
                    </a:cubicBezTo>
                    <a:cubicBezTo>
                      <a:pt x="60" y="20"/>
                      <a:pt x="60" y="20"/>
                      <a:pt x="60" y="20"/>
                    </a:cubicBezTo>
                    <a:cubicBezTo>
                      <a:pt x="60" y="16"/>
                      <a:pt x="56" y="12"/>
                      <a:pt x="52" y="12"/>
                    </a:cubicBezTo>
                    <a:close/>
                    <a:moveTo>
                      <a:pt x="18" y="9"/>
                    </a:moveTo>
                    <a:cubicBezTo>
                      <a:pt x="41" y="9"/>
                      <a:pt x="41" y="9"/>
                      <a:pt x="41" y="9"/>
                    </a:cubicBezTo>
                    <a:cubicBezTo>
                      <a:pt x="41" y="16"/>
                      <a:pt x="41" y="16"/>
                      <a:pt x="41" y="16"/>
                    </a:cubicBezTo>
                    <a:cubicBezTo>
                      <a:pt x="18" y="16"/>
                      <a:pt x="18" y="16"/>
                      <a:pt x="18" y="16"/>
                    </a:cubicBezTo>
                    <a:lnTo>
                      <a:pt x="18" y="9"/>
                    </a:lnTo>
                    <a:close/>
                    <a:moveTo>
                      <a:pt x="55" y="79"/>
                    </a:moveTo>
                    <a:cubicBezTo>
                      <a:pt x="55" y="81"/>
                      <a:pt x="54" y="82"/>
                      <a:pt x="52" y="82"/>
                    </a:cubicBezTo>
                    <a:cubicBezTo>
                      <a:pt x="8" y="82"/>
                      <a:pt x="8" y="82"/>
                      <a:pt x="8" y="82"/>
                    </a:cubicBezTo>
                    <a:cubicBezTo>
                      <a:pt x="6" y="82"/>
                      <a:pt x="5" y="81"/>
                      <a:pt x="5" y="79"/>
                    </a:cubicBezTo>
                    <a:cubicBezTo>
                      <a:pt x="5" y="20"/>
                      <a:pt x="5" y="20"/>
                      <a:pt x="5" y="20"/>
                    </a:cubicBezTo>
                    <a:cubicBezTo>
                      <a:pt x="5" y="18"/>
                      <a:pt x="6" y="16"/>
                      <a:pt x="8" y="16"/>
                    </a:cubicBezTo>
                    <a:cubicBezTo>
                      <a:pt x="14" y="16"/>
                      <a:pt x="14" y="16"/>
                      <a:pt x="14" y="16"/>
                    </a:cubicBezTo>
                    <a:cubicBezTo>
                      <a:pt x="14" y="19"/>
                      <a:pt x="16" y="21"/>
                      <a:pt x="18" y="21"/>
                    </a:cubicBezTo>
                    <a:cubicBezTo>
                      <a:pt x="41" y="21"/>
                      <a:pt x="41" y="21"/>
                      <a:pt x="41" y="21"/>
                    </a:cubicBezTo>
                    <a:cubicBezTo>
                      <a:pt x="44" y="21"/>
                      <a:pt x="46" y="19"/>
                      <a:pt x="46" y="16"/>
                    </a:cubicBezTo>
                    <a:cubicBezTo>
                      <a:pt x="52" y="16"/>
                      <a:pt x="52" y="16"/>
                      <a:pt x="52" y="16"/>
                    </a:cubicBezTo>
                    <a:cubicBezTo>
                      <a:pt x="54" y="16"/>
                      <a:pt x="55" y="18"/>
                      <a:pt x="55" y="20"/>
                    </a:cubicBezTo>
                    <a:lnTo>
                      <a:pt x="55"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194" name="Group 193">
            <a:extLst>
              <a:ext uri="{FF2B5EF4-FFF2-40B4-BE49-F238E27FC236}">
                <a16:creationId xmlns:a16="http://schemas.microsoft.com/office/drawing/2014/main" id="{738385C6-B866-4A59-8253-C790A8224921}"/>
              </a:ext>
              <a:ext uri="{C183D7F6-B498-43B3-948B-1728B52AA6E4}">
                <adec:decorative xmlns:adec="http://schemas.microsoft.com/office/drawing/2017/decorative" val="1"/>
              </a:ext>
            </a:extLst>
          </p:cNvPr>
          <p:cNvGrpSpPr/>
          <p:nvPr/>
        </p:nvGrpSpPr>
        <p:grpSpPr>
          <a:xfrm>
            <a:off x="2549921" y="1945945"/>
            <a:ext cx="442209" cy="442209"/>
            <a:chOff x="2549921" y="2196668"/>
            <a:chExt cx="442209" cy="442209"/>
          </a:xfrm>
        </p:grpSpPr>
        <p:sp>
          <p:nvSpPr>
            <p:cNvPr id="149" name="Oval 148">
              <a:hlinkClick r:id="rId6" action="ppaction://hlinksldjump"/>
              <a:extLst>
                <a:ext uri="{FF2B5EF4-FFF2-40B4-BE49-F238E27FC236}">
                  <a16:creationId xmlns:a16="http://schemas.microsoft.com/office/drawing/2014/main" id="{DBFC90F5-6B42-E6F4-1186-79EC51194A47}"/>
                </a:ext>
              </a:extLst>
            </p:cNvPr>
            <p:cNvSpPr/>
            <p:nvPr/>
          </p:nvSpPr>
          <p:spPr>
            <a:xfrm>
              <a:off x="2549921" y="2196668"/>
              <a:ext cx="442209" cy="442209"/>
            </a:xfrm>
            <a:prstGeom prst="ellipse">
              <a:avLst/>
            </a:prstGeom>
            <a:solidFill>
              <a:schemeClr val="tx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91" name="Group 190">
              <a:extLst>
                <a:ext uri="{FF2B5EF4-FFF2-40B4-BE49-F238E27FC236}">
                  <a16:creationId xmlns:a16="http://schemas.microsoft.com/office/drawing/2014/main" id="{96F864B6-07AC-15AC-2D5E-2A7B6D549F48}"/>
                </a:ext>
              </a:extLst>
            </p:cNvPr>
            <p:cNvGrpSpPr>
              <a:grpSpLocks noChangeAspect="1"/>
            </p:cNvGrpSpPr>
            <p:nvPr/>
          </p:nvGrpSpPr>
          <p:grpSpPr>
            <a:xfrm>
              <a:off x="2660519" y="2309598"/>
              <a:ext cx="223051" cy="207490"/>
              <a:chOff x="7507288" y="4591050"/>
              <a:chExt cx="682625" cy="635000"/>
            </a:xfrm>
            <a:solidFill>
              <a:srgbClr val="FFFFFF"/>
            </a:solidFill>
          </p:grpSpPr>
          <p:sp>
            <p:nvSpPr>
              <p:cNvPr id="192" name="Freeform 8">
                <a:extLst>
                  <a:ext uri="{FF2B5EF4-FFF2-40B4-BE49-F238E27FC236}">
                    <a16:creationId xmlns:a16="http://schemas.microsoft.com/office/drawing/2014/main" id="{0867C996-58DB-C5A0-DCD2-FA5590C3B94B}"/>
                  </a:ext>
                </a:extLst>
              </p:cNvPr>
              <p:cNvSpPr>
                <a:spLocks noEditPoints="1"/>
              </p:cNvSpPr>
              <p:nvPr/>
            </p:nvSpPr>
            <p:spPr bwMode="auto">
              <a:xfrm>
                <a:off x="7507288" y="4591050"/>
                <a:ext cx="682625" cy="635000"/>
              </a:xfrm>
              <a:custGeom>
                <a:avLst/>
                <a:gdLst>
                  <a:gd name="T0" fmla="*/ 146 w 168"/>
                  <a:gd name="T1" fmla="*/ 113 h 156"/>
                  <a:gd name="T2" fmla="*/ 168 w 168"/>
                  <a:gd name="T3" fmla="*/ 66 h 156"/>
                  <a:gd name="T4" fmla="*/ 96 w 168"/>
                  <a:gd name="T5" fmla="*/ 0 h 156"/>
                  <a:gd name="T6" fmla="*/ 26 w 168"/>
                  <a:gd name="T7" fmla="*/ 52 h 156"/>
                  <a:gd name="T8" fmla="*/ 0 w 168"/>
                  <a:gd name="T9" fmla="*/ 95 h 156"/>
                  <a:gd name="T10" fmla="*/ 16 w 168"/>
                  <a:gd name="T11" fmla="*/ 131 h 156"/>
                  <a:gd name="T12" fmla="*/ 5 w 168"/>
                  <a:gd name="T13" fmla="*/ 151 h 156"/>
                  <a:gd name="T14" fmla="*/ 5 w 168"/>
                  <a:gd name="T15" fmla="*/ 154 h 156"/>
                  <a:gd name="T16" fmla="*/ 7 w 168"/>
                  <a:gd name="T17" fmla="*/ 156 h 156"/>
                  <a:gd name="T18" fmla="*/ 38 w 168"/>
                  <a:gd name="T19" fmla="*/ 143 h 156"/>
                  <a:gd name="T20" fmla="*/ 54 w 168"/>
                  <a:gd name="T21" fmla="*/ 145 h 156"/>
                  <a:gd name="T22" fmla="*/ 91 w 168"/>
                  <a:gd name="T23" fmla="*/ 132 h 156"/>
                  <a:gd name="T24" fmla="*/ 96 w 168"/>
                  <a:gd name="T25" fmla="*/ 132 h 156"/>
                  <a:gd name="T26" fmla="*/ 118 w 168"/>
                  <a:gd name="T27" fmla="*/ 129 h 156"/>
                  <a:gd name="T28" fmla="*/ 159 w 168"/>
                  <a:gd name="T29" fmla="*/ 146 h 156"/>
                  <a:gd name="T30" fmla="*/ 162 w 168"/>
                  <a:gd name="T31" fmla="*/ 144 h 156"/>
                  <a:gd name="T32" fmla="*/ 161 w 168"/>
                  <a:gd name="T33" fmla="*/ 142 h 156"/>
                  <a:gd name="T34" fmla="*/ 146 w 168"/>
                  <a:gd name="T35" fmla="*/ 113 h 156"/>
                  <a:gd name="T36" fmla="*/ 119 w 168"/>
                  <a:gd name="T37" fmla="*/ 123 h 156"/>
                  <a:gd name="T38" fmla="*/ 118 w 168"/>
                  <a:gd name="T39" fmla="*/ 123 h 156"/>
                  <a:gd name="T40" fmla="*/ 96 w 168"/>
                  <a:gd name="T41" fmla="*/ 127 h 156"/>
                  <a:gd name="T42" fmla="*/ 30 w 168"/>
                  <a:gd name="T43" fmla="*/ 66 h 156"/>
                  <a:gd name="T44" fmla="*/ 96 w 168"/>
                  <a:gd name="T45" fmla="*/ 5 h 156"/>
                  <a:gd name="T46" fmla="*/ 163 w 168"/>
                  <a:gd name="T47" fmla="*/ 66 h 156"/>
                  <a:gd name="T48" fmla="*/ 142 w 168"/>
                  <a:gd name="T49" fmla="*/ 110 h 156"/>
                  <a:gd name="T50" fmla="*/ 141 w 168"/>
                  <a:gd name="T51" fmla="*/ 113 h 156"/>
                  <a:gd name="T52" fmla="*/ 153 w 168"/>
                  <a:gd name="T53" fmla="*/ 141 h 156"/>
                  <a:gd name="T54" fmla="*/ 121 w 168"/>
                  <a:gd name="T55" fmla="*/ 124 h 156"/>
                  <a:gd name="T56" fmla="*/ 121 w 168"/>
                  <a:gd name="T57" fmla="*/ 124 h 156"/>
                  <a:gd name="T58" fmla="*/ 119 w 168"/>
                  <a:gd name="T59" fmla="*/ 123 h 156"/>
                  <a:gd name="T60" fmla="*/ 21 w 168"/>
                  <a:gd name="T61" fmla="*/ 130 h 156"/>
                  <a:gd name="T62" fmla="*/ 21 w 168"/>
                  <a:gd name="T63" fmla="*/ 128 h 156"/>
                  <a:gd name="T64" fmla="*/ 5 w 168"/>
                  <a:gd name="T65" fmla="*/ 95 h 156"/>
                  <a:gd name="T66" fmla="*/ 25 w 168"/>
                  <a:gd name="T67" fmla="*/ 59 h 156"/>
                  <a:gd name="T68" fmla="*/ 25 w 168"/>
                  <a:gd name="T69" fmla="*/ 66 h 156"/>
                  <a:gd name="T70" fmla="*/ 84 w 168"/>
                  <a:gd name="T71" fmla="*/ 131 h 156"/>
                  <a:gd name="T72" fmla="*/ 54 w 168"/>
                  <a:gd name="T73" fmla="*/ 140 h 156"/>
                  <a:gd name="T74" fmla="*/ 38 w 168"/>
                  <a:gd name="T75" fmla="*/ 137 h 156"/>
                  <a:gd name="T76" fmla="*/ 35 w 168"/>
                  <a:gd name="T77" fmla="*/ 138 h 156"/>
                  <a:gd name="T78" fmla="*/ 13 w 168"/>
                  <a:gd name="T79" fmla="*/ 150 h 156"/>
                  <a:gd name="T80" fmla="*/ 21 w 168"/>
                  <a:gd name="T81" fmla="*/ 13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8" h="156">
                    <a:moveTo>
                      <a:pt x="146" y="113"/>
                    </a:moveTo>
                    <a:cubicBezTo>
                      <a:pt x="160" y="101"/>
                      <a:pt x="168" y="84"/>
                      <a:pt x="168" y="66"/>
                    </a:cubicBezTo>
                    <a:cubicBezTo>
                      <a:pt x="168" y="30"/>
                      <a:pt x="136" y="0"/>
                      <a:pt x="96" y="0"/>
                    </a:cubicBezTo>
                    <a:cubicBezTo>
                      <a:pt x="63" y="0"/>
                      <a:pt x="33" y="22"/>
                      <a:pt x="26" y="52"/>
                    </a:cubicBezTo>
                    <a:cubicBezTo>
                      <a:pt x="10" y="61"/>
                      <a:pt x="0" y="77"/>
                      <a:pt x="0" y="95"/>
                    </a:cubicBezTo>
                    <a:cubicBezTo>
                      <a:pt x="0" y="108"/>
                      <a:pt x="6" y="121"/>
                      <a:pt x="16" y="131"/>
                    </a:cubicBezTo>
                    <a:cubicBezTo>
                      <a:pt x="12" y="144"/>
                      <a:pt x="5" y="151"/>
                      <a:pt x="5" y="151"/>
                    </a:cubicBezTo>
                    <a:cubicBezTo>
                      <a:pt x="5" y="152"/>
                      <a:pt x="4" y="153"/>
                      <a:pt x="5" y="154"/>
                    </a:cubicBezTo>
                    <a:cubicBezTo>
                      <a:pt x="5" y="155"/>
                      <a:pt x="6" y="156"/>
                      <a:pt x="7" y="156"/>
                    </a:cubicBezTo>
                    <a:cubicBezTo>
                      <a:pt x="23" y="155"/>
                      <a:pt x="33" y="147"/>
                      <a:pt x="38" y="143"/>
                    </a:cubicBezTo>
                    <a:cubicBezTo>
                      <a:pt x="43" y="144"/>
                      <a:pt x="49" y="145"/>
                      <a:pt x="54" y="145"/>
                    </a:cubicBezTo>
                    <a:cubicBezTo>
                      <a:pt x="68" y="145"/>
                      <a:pt x="81" y="140"/>
                      <a:pt x="91" y="132"/>
                    </a:cubicBezTo>
                    <a:cubicBezTo>
                      <a:pt x="93" y="132"/>
                      <a:pt x="95" y="132"/>
                      <a:pt x="96" y="132"/>
                    </a:cubicBezTo>
                    <a:cubicBezTo>
                      <a:pt x="104" y="132"/>
                      <a:pt x="111" y="131"/>
                      <a:pt x="118" y="129"/>
                    </a:cubicBezTo>
                    <a:cubicBezTo>
                      <a:pt x="124" y="135"/>
                      <a:pt x="138" y="146"/>
                      <a:pt x="159" y="146"/>
                    </a:cubicBezTo>
                    <a:cubicBezTo>
                      <a:pt x="160" y="146"/>
                      <a:pt x="161" y="145"/>
                      <a:pt x="162" y="144"/>
                    </a:cubicBezTo>
                    <a:cubicBezTo>
                      <a:pt x="162" y="144"/>
                      <a:pt x="162" y="142"/>
                      <a:pt x="161" y="142"/>
                    </a:cubicBezTo>
                    <a:cubicBezTo>
                      <a:pt x="161" y="142"/>
                      <a:pt x="151" y="132"/>
                      <a:pt x="146" y="113"/>
                    </a:cubicBezTo>
                    <a:close/>
                    <a:moveTo>
                      <a:pt x="119" y="123"/>
                    </a:moveTo>
                    <a:cubicBezTo>
                      <a:pt x="119" y="123"/>
                      <a:pt x="119" y="123"/>
                      <a:pt x="118" y="123"/>
                    </a:cubicBezTo>
                    <a:cubicBezTo>
                      <a:pt x="111" y="125"/>
                      <a:pt x="104" y="127"/>
                      <a:pt x="96" y="127"/>
                    </a:cubicBezTo>
                    <a:cubicBezTo>
                      <a:pt x="60" y="127"/>
                      <a:pt x="30" y="99"/>
                      <a:pt x="30" y="66"/>
                    </a:cubicBezTo>
                    <a:cubicBezTo>
                      <a:pt x="30" y="32"/>
                      <a:pt x="60" y="5"/>
                      <a:pt x="96" y="5"/>
                    </a:cubicBezTo>
                    <a:cubicBezTo>
                      <a:pt x="133" y="5"/>
                      <a:pt x="163" y="32"/>
                      <a:pt x="163" y="66"/>
                    </a:cubicBezTo>
                    <a:cubicBezTo>
                      <a:pt x="163" y="83"/>
                      <a:pt x="156" y="99"/>
                      <a:pt x="142" y="110"/>
                    </a:cubicBezTo>
                    <a:cubicBezTo>
                      <a:pt x="141" y="111"/>
                      <a:pt x="141" y="112"/>
                      <a:pt x="141" y="113"/>
                    </a:cubicBezTo>
                    <a:cubicBezTo>
                      <a:pt x="144" y="126"/>
                      <a:pt x="149" y="135"/>
                      <a:pt x="153" y="141"/>
                    </a:cubicBezTo>
                    <a:cubicBezTo>
                      <a:pt x="135" y="138"/>
                      <a:pt x="125" y="128"/>
                      <a:pt x="121" y="124"/>
                    </a:cubicBezTo>
                    <a:cubicBezTo>
                      <a:pt x="121" y="124"/>
                      <a:pt x="121" y="124"/>
                      <a:pt x="121" y="124"/>
                    </a:cubicBezTo>
                    <a:cubicBezTo>
                      <a:pt x="121" y="123"/>
                      <a:pt x="120" y="123"/>
                      <a:pt x="119" y="123"/>
                    </a:cubicBezTo>
                    <a:close/>
                    <a:moveTo>
                      <a:pt x="21" y="130"/>
                    </a:moveTo>
                    <a:cubicBezTo>
                      <a:pt x="22" y="129"/>
                      <a:pt x="21" y="128"/>
                      <a:pt x="21" y="128"/>
                    </a:cubicBezTo>
                    <a:cubicBezTo>
                      <a:pt x="10" y="119"/>
                      <a:pt x="5" y="107"/>
                      <a:pt x="5" y="95"/>
                    </a:cubicBezTo>
                    <a:cubicBezTo>
                      <a:pt x="5" y="81"/>
                      <a:pt x="12" y="67"/>
                      <a:pt x="25" y="59"/>
                    </a:cubicBezTo>
                    <a:cubicBezTo>
                      <a:pt x="25" y="61"/>
                      <a:pt x="25" y="64"/>
                      <a:pt x="25" y="66"/>
                    </a:cubicBezTo>
                    <a:cubicBezTo>
                      <a:pt x="25" y="98"/>
                      <a:pt x="49" y="125"/>
                      <a:pt x="84" y="131"/>
                    </a:cubicBezTo>
                    <a:cubicBezTo>
                      <a:pt x="75" y="137"/>
                      <a:pt x="65" y="140"/>
                      <a:pt x="54" y="140"/>
                    </a:cubicBezTo>
                    <a:cubicBezTo>
                      <a:pt x="49" y="140"/>
                      <a:pt x="43" y="139"/>
                      <a:pt x="38" y="137"/>
                    </a:cubicBezTo>
                    <a:cubicBezTo>
                      <a:pt x="37" y="137"/>
                      <a:pt x="36" y="137"/>
                      <a:pt x="35" y="138"/>
                    </a:cubicBezTo>
                    <a:cubicBezTo>
                      <a:pt x="33" y="141"/>
                      <a:pt x="25" y="148"/>
                      <a:pt x="13" y="150"/>
                    </a:cubicBezTo>
                    <a:cubicBezTo>
                      <a:pt x="16" y="146"/>
                      <a:pt x="19" y="139"/>
                      <a:pt x="21" y="1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3" name="Freeform 9">
                <a:extLst>
                  <a:ext uri="{FF2B5EF4-FFF2-40B4-BE49-F238E27FC236}">
                    <a16:creationId xmlns:a16="http://schemas.microsoft.com/office/drawing/2014/main" id="{02159620-636A-745F-4888-88A8C541FFB1}"/>
                  </a:ext>
                </a:extLst>
              </p:cNvPr>
              <p:cNvSpPr>
                <a:spLocks noEditPoints="1"/>
              </p:cNvSpPr>
              <p:nvPr/>
            </p:nvSpPr>
            <p:spPr bwMode="auto">
              <a:xfrm>
                <a:off x="7759700" y="4668838"/>
                <a:ext cx="295275" cy="382588"/>
              </a:xfrm>
              <a:custGeom>
                <a:avLst/>
                <a:gdLst>
                  <a:gd name="T0" fmla="*/ 70 w 73"/>
                  <a:gd name="T1" fmla="*/ 94 h 94"/>
                  <a:gd name="T2" fmla="*/ 71 w 73"/>
                  <a:gd name="T3" fmla="*/ 94 h 94"/>
                  <a:gd name="T4" fmla="*/ 72 w 73"/>
                  <a:gd name="T5" fmla="*/ 93 h 94"/>
                  <a:gd name="T6" fmla="*/ 73 w 73"/>
                  <a:gd name="T7" fmla="*/ 91 h 94"/>
                  <a:gd name="T8" fmla="*/ 56 w 73"/>
                  <a:gd name="T9" fmla="*/ 57 h 94"/>
                  <a:gd name="T10" fmla="*/ 69 w 73"/>
                  <a:gd name="T11" fmla="*/ 32 h 94"/>
                  <a:gd name="T12" fmla="*/ 36 w 73"/>
                  <a:gd name="T13" fmla="*/ 0 h 94"/>
                  <a:gd name="T14" fmla="*/ 4 w 73"/>
                  <a:gd name="T15" fmla="*/ 32 h 94"/>
                  <a:gd name="T16" fmla="*/ 17 w 73"/>
                  <a:gd name="T17" fmla="*/ 57 h 94"/>
                  <a:gd name="T18" fmla="*/ 0 w 73"/>
                  <a:gd name="T19" fmla="*/ 91 h 94"/>
                  <a:gd name="T20" fmla="*/ 2 w 73"/>
                  <a:gd name="T21" fmla="*/ 94 h 94"/>
                  <a:gd name="T22" fmla="*/ 2 w 73"/>
                  <a:gd name="T23" fmla="*/ 94 h 94"/>
                  <a:gd name="T24" fmla="*/ 4 w 73"/>
                  <a:gd name="T25" fmla="*/ 93 h 94"/>
                  <a:gd name="T26" fmla="*/ 5 w 73"/>
                  <a:gd name="T27" fmla="*/ 91 h 94"/>
                  <a:gd name="T28" fmla="*/ 21 w 73"/>
                  <a:gd name="T29" fmla="*/ 60 h 94"/>
                  <a:gd name="T30" fmla="*/ 36 w 73"/>
                  <a:gd name="T31" fmla="*/ 64 h 94"/>
                  <a:gd name="T32" fmla="*/ 52 w 73"/>
                  <a:gd name="T33" fmla="*/ 60 h 94"/>
                  <a:gd name="T34" fmla="*/ 68 w 73"/>
                  <a:gd name="T35" fmla="*/ 91 h 94"/>
                  <a:gd name="T36" fmla="*/ 70 w 73"/>
                  <a:gd name="T37" fmla="*/ 94 h 94"/>
                  <a:gd name="T38" fmla="*/ 27 w 73"/>
                  <a:gd name="T39" fmla="*/ 57 h 94"/>
                  <a:gd name="T40" fmla="*/ 27 w 73"/>
                  <a:gd name="T41" fmla="*/ 57 h 94"/>
                  <a:gd name="T42" fmla="*/ 26 w 73"/>
                  <a:gd name="T43" fmla="*/ 57 h 94"/>
                  <a:gd name="T44" fmla="*/ 10 w 73"/>
                  <a:gd name="T45" fmla="*/ 35 h 94"/>
                  <a:gd name="T46" fmla="*/ 46 w 73"/>
                  <a:gd name="T47" fmla="*/ 23 h 94"/>
                  <a:gd name="T48" fmla="*/ 63 w 73"/>
                  <a:gd name="T49" fmla="*/ 34 h 94"/>
                  <a:gd name="T50" fmla="*/ 47 w 73"/>
                  <a:gd name="T51" fmla="*/ 57 h 94"/>
                  <a:gd name="T52" fmla="*/ 46 w 73"/>
                  <a:gd name="T53" fmla="*/ 57 h 94"/>
                  <a:gd name="T54" fmla="*/ 45 w 73"/>
                  <a:gd name="T55" fmla="*/ 57 h 94"/>
                  <a:gd name="T56" fmla="*/ 43 w 73"/>
                  <a:gd name="T57" fmla="*/ 58 h 94"/>
                  <a:gd name="T58" fmla="*/ 41 w 73"/>
                  <a:gd name="T59" fmla="*/ 58 h 94"/>
                  <a:gd name="T60" fmla="*/ 39 w 73"/>
                  <a:gd name="T61" fmla="*/ 59 h 94"/>
                  <a:gd name="T62" fmla="*/ 39 w 73"/>
                  <a:gd name="T63" fmla="*/ 59 h 94"/>
                  <a:gd name="T64" fmla="*/ 34 w 73"/>
                  <a:gd name="T65" fmla="*/ 59 h 94"/>
                  <a:gd name="T66" fmla="*/ 34 w 73"/>
                  <a:gd name="T67" fmla="*/ 59 h 94"/>
                  <a:gd name="T68" fmla="*/ 32 w 73"/>
                  <a:gd name="T69" fmla="*/ 58 h 94"/>
                  <a:gd name="T70" fmla="*/ 30 w 73"/>
                  <a:gd name="T71" fmla="*/ 58 h 94"/>
                  <a:gd name="T72" fmla="*/ 27 w 73"/>
                  <a:gd name="T73" fmla="*/ 57 h 94"/>
                  <a:gd name="T74" fmla="*/ 49 w 73"/>
                  <a:gd name="T75" fmla="*/ 18 h 94"/>
                  <a:gd name="T76" fmla="*/ 47 w 73"/>
                  <a:gd name="T77" fmla="*/ 17 h 94"/>
                  <a:gd name="T78" fmla="*/ 45 w 73"/>
                  <a:gd name="T79" fmla="*/ 17 h 94"/>
                  <a:gd name="T80" fmla="*/ 10 w 73"/>
                  <a:gd name="T81" fmla="*/ 29 h 94"/>
                  <a:gd name="T82" fmla="*/ 36 w 73"/>
                  <a:gd name="T83" fmla="*/ 5 h 94"/>
                  <a:gd name="T84" fmla="*/ 63 w 73"/>
                  <a:gd name="T85" fmla="*/ 28 h 94"/>
                  <a:gd name="T86" fmla="*/ 49 w 73"/>
                  <a:gd name="T87"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 h="94">
                    <a:moveTo>
                      <a:pt x="70" y="94"/>
                    </a:moveTo>
                    <a:cubicBezTo>
                      <a:pt x="71" y="94"/>
                      <a:pt x="71" y="94"/>
                      <a:pt x="71" y="94"/>
                    </a:cubicBezTo>
                    <a:cubicBezTo>
                      <a:pt x="71" y="94"/>
                      <a:pt x="72" y="93"/>
                      <a:pt x="72" y="93"/>
                    </a:cubicBezTo>
                    <a:cubicBezTo>
                      <a:pt x="73" y="92"/>
                      <a:pt x="73" y="92"/>
                      <a:pt x="73" y="91"/>
                    </a:cubicBezTo>
                    <a:cubicBezTo>
                      <a:pt x="73" y="90"/>
                      <a:pt x="72" y="72"/>
                      <a:pt x="56" y="57"/>
                    </a:cubicBezTo>
                    <a:cubicBezTo>
                      <a:pt x="64" y="51"/>
                      <a:pt x="69" y="42"/>
                      <a:pt x="69" y="32"/>
                    </a:cubicBezTo>
                    <a:cubicBezTo>
                      <a:pt x="69" y="14"/>
                      <a:pt x="54" y="0"/>
                      <a:pt x="36" y="0"/>
                    </a:cubicBezTo>
                    <a:cubicBezTo>
                      <a:pt x="19" y="0"/>
                      <a:pt x="4" y="14"/>
                      <a:pt x="4" y="32"/>
                    </a:cubicBezTo>
                    <a:cubicBezTo>
                      <a:pt x="4" y="42"/>
                      <a:pt x="9" y="51"/>
                      <a:pt x="17" y="57"/>
                    </a:cubicBezTo>
                    <a:cubicBezTo>
                      <a:pt x="1" y="72"/>
                      <a:pt x="0" y="90"/>
                      <a:pt x="0" y="91"/>
                    </a:cubicBezTo>
                    <a:cubicBezTo>
                      <a:pt x="0" y="92"/>
                      <a:pt x="1" y="94"/>
                      <a:pt x="2" y="94"/>
                    </a:cubicBezTo>
                    <a:cubicBezTo>
                      <a:pt x="2" y="94"/>
                      <a:pt x="2" y="94"/>
                      <a:pt x="2" y="94"/>
                    </a:cubicBezTo>
                    <a:cubicBezTo>
                      <a:pt x="3" y="94"/>
                      <a:pt x="4" y="93"/>
                      <a:pt x="4" y="93"/>
                    </a:cubicBezTo>
                    <a:cubicBezTo>
                      <a:pt x="5" y="93"/>
                      <a:pt x="5" y="92"/>
                      <a:pt x="5" y="91"/>
                    </a:cubicBezTo>
                    <a:cubicBezTo>
                      <a:pt x="5" y="91"/>
                      <a:pt x="6" y="73"/>
                      <a:pt x="21" y="60"/>
                    </a:cubicBezTo>
                    <a:cubicBezTo>
                      <a:pt x="26" y="63"/>
                      <a:pt x="31" y="64"/>
                      <a:pt x="36" y="64"/>
                    </a:cubicBezTo>
                    <a:cubicBezTo>
                      <a:pt x="42" y="64"/>
                      <a:pt x="47" y="63"/>
                      <a:pt x="52" y="60"/>
                    </a:cubicBezTo>
                    <a:cubicBezTo>
                      <a:pt x="66" y="73"/>
                      <a:pt x="68" y="91"/>
                      <a:pt x="68" y="91"/>
                    </a:cubicBezTo>
                    <a:cubicBezTo>
                      <a:pt x="68" y="93"/>
                      <a:pt x="69" y="94"/>
                      <a:pt x="70" y="94"/>
                    </a:cubicBezTo>
                    <a:close/>
                    <a:moveTo>
                      <a:pt x="27" y="57"/>
                    </a:moveTo>
                    <a:cubicBezTo>
                      <a:pt x="27" y="57"/>
                      <a:pt x="27" y="57"/>
                      <a:pt x="27" y="57"/>
                    </a:cubicBezTo>
                    <a:cubicBezTo>
                      <a:pt x="26" y="57"/>
                      <a:pt x="26" y="57"/>
                      <a:pt x="26" y="57"/>
                    </a:cubicBezTo>
                    <a:cubicBezTo>
                      <a:pt x="17" y="53"/>
                      <a:pt x="11" y="44"/>
                      <a:pt x="10" y="35"/>
                    </a:cubicBezTo>
                    <a:cubicBezTo>
                      <a:pt x="15" y="35"/>
                      <a:pt x="31" y="35"/>
                      <a:pt x="46" y="23"/>
                    </a:cubicBezTo>
                    <a:cubicBezTo>
                      <a:pt x="48" y="26"/>
                      <a:pt x="54" y="32"/>
                      <a:pt x="63" y="34"/>
                    </a:cubicBezTo>
                    <a:cubicBezTo>
                      <a:pt x="63" y="44"/>
                      <a:pt x="56" y="52"/>
                      <a:pt x="47" y="57"/>
                    </a:cubicBezTo>
                    <a:cubicBezTo>
                      <a:pt x="47" y="57"/>
                      <a:pt x="46" y="57"/>
                      <a:pt x="46" y="57"/>
                    </a:cubicBezTo>
                    <a:cubicBezTo>
                      <a:pt x="45" y="57"/>
                      <a:pt x="45" y="57"/>
                      <a:pt x="45" y="57"/>
                    </a:cubicBezTo>
                    <a:cubicBezTo>
                      <a:pt x="45" y="57"/>
                      <a:pt x="44" y="58"/>
                      <a:pt x="43" y="58"/>
                    </a:cubicBezTo>
                    <a:cubicBezTo>
                      <a:pt x="42" y="58"/>
                      <a:pt x="41" y="58"/>
                      <a:pt x="41" y="58"/>
                    </a:cubicBezTo>
                    <a:cubicBezTo>
                      <a:pt x="40" y="59"/>
                      <a:pt x="40" y="59"/>
                      <a:pt x="39" y="59"/>
                    </a:cubicBezTo>
                    <a:cubicBezTo>
                      <a:pt x="39" y="59"/>
                      <a:pt x="39" y="59"/>
                      <a:pt x="39" y="59"/>
                    </a:cubicBezTo>
                    <a:cubicBezTo>
                      <a:pt x="37" y="59"/>
                      <a:pt x="36" y="59"/>
                      <a:pt x="34" y="59"/>
                    </a:cubicBezTo>
                    <a:cubicBezTo>
                      <a:pt x="34" y="59"/>
                      <a:pt x="34" y="59"/>
                      <a:pt x="34" y="59"/>
                    </a:cubicBezTo>
                    <a:cubicBezTo>
                      <a:pt x="33" y="59"/>
                      <a:pt x="33" y="59"/>
                      <a:pt x="32" y="58"/>
                    </a:cubicBezTo>
                    <a:cubicBezTo>
                      <a:pt x="31" y="58"/>
                      <a:pt x="31" y="58"/>
                      <a:pt x="30" y="58"/>
                    </a:cubicBezTo>
                    <a:cubicBezTo>
                      <a:pt x="29" y="58"/>
                      <a:pt x="28" y="58"/>
                      <a:pt x="27" y="57"/>
                    </a:cubicBezTo>
                    <a:close/>
                    <a:moveTo>
                      <a:pt x="49" y="18"/>
                    </a:moveTo>
                    <a:cubicBezTo>
                      <a:pt x="49" y="17"/>
                      <a:pt x="48" y="17"/>
                      <a:pt x="47" y="17"/>
                    </a:cubicBezTo>
                    <a:cubicBezTo>
                      <a:pt x="46" y="16"/>
                      <a:pt x="45" y="17"/>
                      <a:pt x="45" y="17"/>
                    </a:cubicBezTo>
                    <a:cubicBezTo>
                      <a:pt x="31" y="29"/>
                      <a:pt x="16" y="30"/>
                      <a:pt x="10" y="29"/>
                    </a:cubicBezTo>
                    <a:cubicBezTo>
                      <a:pt x="11" y="16"/>
                      <a:pt x="22" y="5"/>
                      <a:pt x="36" y="5"/>
                    </a:cubicBezTo>
                    <a:cubicBezTo>
                      <a:pt x="50" y="5"/>
                      <a:pt x="61" y="15"/>
                      <a:pt x="63" y="28"/>
                    </a:cubicBezTo>
                    <a:cubicBezTo>
                      <a:pt x="53" y="25"/>
                      <a:pt x="49" y="18"/>
                      <a:pt x="49"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4" name="TextBox 3">
            <a:extLst>
              <a:ext uri="{FF2B5EF4-FFF2-40B4-BE49-F238E27FC236}">
                <a16:creationId xmlns:a16="http://schemas.microsoft.com/office/drawing/2014/main" id="{591FE850-559E-4EB9-6AED-EFF5B2605E51}"/>
              </a:ext>
            </a:extLst>
          </p:cNvPr>
          <p:cNvSpPr txBox="1"/>
          <p:nvPr/>
        </p:nvSpPr>
        <p:spPr>
          <a:xfrm>
            <a:off x="7355852" y="1693757"/>
            <a:ext cx="3076074" cy="1169551"/>
          </a:xfrm>
          <a:prstGeom prst="rect">
            <a:avLst/>
          </a:prstGeom>
          <a:no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dirty="0">
                <a:solidFill>
                  <a:srgbClr val="FF0000"/>
                </a:solidFill>
                <a:latin typeface="Arial"/>
                <a:cs typeface="Segoe UI"/>
              </a:rPr>
              <a:t>Implementation note: </a:t>
            </a:r>
            <a:r>
              <a:rPr lang="en-US" sz="1000" dirty="0">
                <a:solidFill>
                  <a:srgbClr val="FF0000"/>
                </a:solidFill>
                <a:latin typeface="Arial"/>
                <a:cs typeface="Segoe UI"/>
              </a:rPr>
              <a:t>Delete these notes prior to publishing this solution.</a:t>
            </a:r>
            <a:endParaRPr lang="en-US" sz="1000" dirty="0">
              <a:solidFill>
                <a:srgbClr val="FF0000"/>
              </a:solidFill>
              <a:latin typeface="Arial"/>
              <a:cs typeface="Arial"/>
            </a:endParaRPr>
          </a:p>
          <a:p>
            <a:r>
              <a:rPr lang="en-US" sz="1000" dirty="0">
                <a:solidFill>
                  <a:srgbClr val="FF0000"/>
                </a:solidFill>
                <a:latin typeface="Arial"/>
                <a:cs typeface="Segoe UI"/>
              </a:rPr>
              <a:t>The below map outlines a common process used by councils. This may not be the process for your council, and you will therefore need to edit the text and amend accordingly to reflect the best practice process at your council.</a:t>
            </a:r>
          </a:p>
        </p:txBody>
      </p:sp>
    </p:spTree>
    <p:extLst>
      <p:ext uri="{BB962C8B-B14F-4D97-AF65-F5344CB8AC3E}">
        <p14:creationId xmlns:p14="http://schemas.microsoft.com/office/powerpoint/2010/main" val="21126962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5E4B21-C89A-975A-EF28-1647A6806F2D}"/>
              </a:ext>
            </a:extLst>
          </p:cNvPr>
          <p:cNvSpPr txBox="1">
            <a:spLocks noGrp="1"/>
          </p:cNvSpPr>
          <p:nvPr>
            <p:ph type="title" idx="4294967295"/>
          </p:nvPr>
        </p:nvSpPr>
        <p:spPr>
          <a:xfrm>
            <a:off x="585788" y="655462"/>
            <a:ext cx="6832651" cy="446276"/>
          </a:xfrm>
          <a:prstGeom prst="rect">
            <a:avLst/>
          </a:prstGeom>
          <a:noFill/>
          <a:ln>
            <a:noFill/>
            <a:prstDash/>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marL="0" marR="0" lvl="0" indent="0" algn="l" defTabSz="995070" rtl="0" eaLnBrk="1" fontAlgn="auto" latinLnBrk="0" hangingPunct="1">
              <a:lnSpc>
                <a:spcPct val="100000"/>
              </a:lnSpc>
              <a:spcBef>
                <a:spcPts val="0"/>
              </a:spcBef>
              <a:spcAft>
                <a:spcPts val="0"/>
              </a:spcAft>
              <a:buClrTx/>
              <a:buSzTx/>
              <a:buFontTx/>
              <a:buNone/>
              <a:tabLst/>
              <a:defRPr/>
            </a:pPr>
            <a:r>
              <a:rPr kumimoji="0" lang="en-AU" sz="2300" b="1" i="0" u="none" strike="noStrike" kern="1200" cap="none" spc="0" normalizeH="0" baseline="0" noProof="0" dirty="0">
                <a:ln>
                  <a:noFill/>
                </a:ln>
                <a:solidFill>
                  <a:srgbClr val="465762"/>
                </a:solidFill>
                <a:effectLst/>
                <a:uLnTx/>
                <a:uFillTx/>
                <a:latin typeface="+mn-lt"/>
                <a:ea typeface="+mn-ea"/>
                <a:cs typeface="Segoe UI" panose="020B0502040204020203" pitchFamily="34" charset="0"/>
              </a:rPr>
              <a:t>Recommendations</a:t>
            </a:r>
          </a:p>
        </p:txBody>
      </p:sp>
      <p:sp>
        <p:nvSpPr>
          <p:cNvPr id="11" name="Rectangle 10">
            <a:extLst>
              <a:ext uri="{FF2B5EF4-FFF2-40B4-BE49-F238E27FC236}">
                <a16:creationId xmlns:a16="http://schemas.microsoft.com/office/drawing/2014/main" id="{D5E08BA8-B596-17E0-136E-33AC0049A361}"/>
              </a:ext>
            </a:extLst>
          </p:cNvPr>
          <p:cNvSpPr/>
          <p:nvPr/>
        </p:nvSpPr>
        <p:spPr>
          <a:xfrm>
            <a:off x="585788" y="1852709"/>
            <a:ext cx="2247599" cy="4462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AU" sz="1000" b="1" dirty="0">
                <a:solidFill>
                  <a:schemeClr val="bg1"/>
                </a:solidFill>
                <a:latin typeface="+mj-lt"/>
              </a:rPr>
              <a:t>Pre-app </a:t>
            </a:r>
            <a:r>
              <a:rPr lang="en-AU" sz="1000" b="1" i="1" dirty="0">
                <a:solidFill>
                  <a:schemeClr val="bg1"/>
                </a:solidFill>
                <a:latin typeface="+mj-lt"/>
              </a:rPr>
              <a:t>not </a:t>
            </a:r>
            <a:r>
              <a:rPr lang="en-AU" sz="1000" b="1" dirty="0">
                <a:solidFill>
                  <a:schemeClr val="bg1"/>
                </a:solidFill>
                <a:latin typeface="+mj-lt"/>
              </a:rPr>
              <a:t>recommended (enquiry)</a:t>
            </a:r>
          </a:p>
        </p:txBody>
      </p:sp>
      <p:sp>
        <p:nvSpPr>
          <p:cNvPr id="6" name="Rectangle 5">
            <a:extLst>
              <a:ext uri="{FF2B5EF4-FFF2-40B4-BE49-F238E27FC236}">
                <a16:creationId xmlns:a16="http://schemas.microsoft.com/office/drawing/2014/main" id="{49CF0E85-C42A-B529-2783-D94EB733EA4E}"/>
              </a:ext>
            </a:extLst>
          </p:cNvPr>
          <p:cNvSpPr/>
          <p:nvPr/>
        </p:nvSpPr>
        <p:spPr>
          <a:xfrm>
            <a:off x="585788" y="2395219"/>
            <a:ext cx="2247599" cy="3872846"/>
          </a:xfrm>
          <a:prstGeom prst="rect">
            <a:avLst/>
          </a:prstGeom>
          <a:solidFill>
            <a:srgbClr val="F2F2F2">
              <a:alpha val="6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44000" indent="-144000">
              <a:spcAft>
                <a:spcPts val="600"/>
              </a:spcAft>
              <a:buFont typeface="Arial" panose="020B0604020202020204" pitchFamily="34" charset="0"/>
              <a:buChar char="•"/>
            </a:pPr>
            <a:r>
              <a:rPr lang="en-AU" sz="1000" dirty="0">
                <a:solidFill>
                  <a:srgbClr val="37465B"/>
                </a:solidFill>
                <a:highlight>
                  <a:srgbClr val="FFFF00"/>
                </a:highlight>
                <a:latin typeface="Arial" panose="020B0604020202020204" pitchFamily="34" charset="0"/>
                <a:cs typeface="Arial" panose="020B0604020202020204" pitchFamily="34" charset="0"/>
              </a:rPr>
              <a:t>Extensions to existing buildings unless in HO</a:t>
            </a:r>
          </a:p>
          <a:p>
            <a:pPr marL="144000" indent="-144000">
              <a:spcAft>
                <a:spcPts val="600"/>
              </a:spcAft>
              <a:buFont typeface="Arial" panose="020B0604020202020204" pitchFamily="34" charset="0"/>
              <a:buChar char="•"/>
            </a:pPr>
            <a:r>
              <a:rPr lang="en-AU" sz="1000" dirty="0">
                <a:solidFill>
                  <a:srgbClr val="37465B"/>
                </a:solidFill>
                <a:highlight>
                  <a:srgbClr val="FFFF00"/>
                </a:highlight>
                <a:latin typeface="Arial" panose="020B0604020202020204" pitchFamily="34" charset="0"/>
                <a:cs typeface="Arial" panose="020B0604020202020204" pitchFamily="34" charset="0"/>
              </a:rPr>
              <a:t>Minor amendments</a:t>
            </a:r>
          </a:p>
          <a:p>
            <a:pPr marL="144000" indent="-144000">
              <a:spcAft>
                <a:spcPts val="600"/>
              </a:spcAft>
              <a:buFont typeface="Arial" panose="020B0604020202020204" pitchFamily="34" charset="0"/>
              <a:buChar char="•"/>
            </a:pPr>
            <a:r>
              <a:rPr lang="en-AU" sz="1000" dirty="0">
                <a:solidFill>
                  <a:srgbClr val="37465B"/>
                </a:solidFill>
                <a:highlight>
                  <a:srgbClr val="FFFF00"/>
                </a:highlight>
                <a:latin typeface="Arial" panose="020B0604020202020204" pitchFamily="34" charset="0"/>
                <a:cs typeface="Arial" panose="020B0604020202020204" pitchFamily="34" charset="0"/>
              </a:rPr>
              <a:t>Liquor license</a:t>
            </a:r>
          </a:p>
          <a:p>
            <a:pPr marL="144000" indent="-144000">
              <a:spcAft>
                <a:spcPts val="600"/>
              </a:spcAft>
              <a:buFont typeface="Arial" panose="020B0604020202020204" pitchFamily="34" charset="0"/>
              <a:buChar char="•"/>
            </a:pPr>
            <a:r>
              <a:rPr lang="en-AU" sz="1000" dirty="0">
                <a:solidFill>
                  <a:srgbClr val="37465B"/>
                </a:solidFill>
                <a:highlight>
                  <a:srgbClr val="FFFF00"/>
                </a:highlight>
                <a:latin typeface="Arial" panose="020B0604020202020204" pitchFamily="34" charset="0"/>
                <a:cs typeface="Arial" panose="020B0604020202020204" pitchFamily="34" charset="0"/>
              </a:rPr>
              <a:t>Signage</a:t>
            </a:r>
          </a:p>
          <a:p>
            <a:pPr marL="144000" indent="-144000">
              <a:spcAft>
                <a:spcPts val="600"/>
              </a:spcAft>
              <a:buFont typeface="Arial" panose="020B0604020202020204" pitchFamily="34" charset="0"/>
              <a:buChar char="•"/>
            </a:pPr>
            <a:r>
              <a:rPr lang="en-AU" sz="1000" dirty="0">
                <a:solidFill>
                  <a:srgbClr val="37465B"/>
                </a:solidFill>
                <a:highlight>
                  <a:srgbClr val="FFFF00"/>
                </a:highlight>
                <a:latin typeface="Arial" panose="020B0604020202020204" pitchFamily="34" charset="0"/>
                <a:cs typeface="Arial" panose="020B0604020202020204" pitchFamily="34" charset="0"/>
              </a:rPr>
              <a:t>Minor buildings and works (&lt;$100k)</a:t>
            </a:r>
          </a:p>
          <a:p>
            <a:pPr marL="144000" indent="-144000">
              <a:spcAft>
                <a:spcPts val="600"/>
              </a:spcAft>
              <a:buFont typeface="Arial" panose="020B0604020202020204" pitchFamily="34" charset="0"/>
              <a:buChar char="•"/>
            </a:pPr>
            <a:r>
              <a:rPr lang="en-AU" sz="1000" dirty="0">
                <a:solidFill>
                  <a:srgbClr val="37465B"/>
                </a:solidFill>
                <a:highlight>
                  <a:srgbClr val="FFFF00"/>
                </a:highlight>
                <a:latin typeface="Arial" panose="020B0604020202020204" pitchFamily="34" charset="0"/>
                <a:cs typeface="Arial" panose="020B0604020202020204" pitchFamily="34" charset="0"/>
              </a:rPr>
              <a:t>Outbuildings associated with dwellings</a:t>
            </a:r>
          </a:p>
          <a:p>
            <a:pPr marL="144000" indent="-144000">
              <a:spcAft>
                <a:spcPts val="600"/>
              </a:spcAft>
              <a:buFont typeface="Arial" panose="020B0604020202020204" pitchFamily="34" charset="0"/>
              <a:buChar char="•"/>
            </a:pPr>
            <a:r>
              <a:rPr lang="en-AU" sz="1000" dirty="0">
                <a:solidFill>
                  <a:srgbClr val="37465B"/>
                </a:solidFill>
                <a:highlight>
                  <a:srgbClr val="FFFF00"/>
                </a:highlight>
                <a:latin typeface="Arial" panose="020B0604020202020204" pitchFamily="34" charset="0"/>
                <a:cs typeface="Arial" panose="020B0604020202020204" pitchFamily="34" charset="0"/>
              </a:rPr>
              <a:t>Small-scale vegetation removal</a:t>
            </a:r>
          </a:p>
          <a:p>
            <a:pPr marL="144000" indent="-144000">
              <a:spcAft>
                <a:spcPts val="600"/>
              </a:spcAft>
              <a:buFont typeface="Arial" panose="020B0604020202020204" pitchFamily="34" charset="0"/>
              <a:buChar char="•"/>
            </a:pPr>
            <a:r>
              <a:rPr lang="en-AU" sz="1000" dirty="0">
                <a:solidFill>
                  <a:srgbClr val="37465B"/>
                </a:solidFill>
                <a:highlight>
                  <a:srgbClr val="FFFF00"/>
                </a:highlight>
                <a:latin typeface="Arial" panose="020B0604020202020204" pitchFamily="34" charset="0"/>
                <a:cs typeface="Arial" panose="020B0604020202020204" pitchFamily="34" charset="0"/>
              </a:rPr>
              <a:t>Title related applications (covenants/restrictions)</a:t>
            </a:r>
          </a:p>
          <a:p>
            <a:pPr marL="144000" indent="-144000">
              <a:spcAft>
                <a:spcPts val="600"/>
              </a:spcAft>
              <a:buFont typeface="Arial" panose="020B0604020202020204" pitchFamily="34" charset="0"/>
              <a:buChar char="•"/>
            </a:pPr>
            <a:r>
              <a:rPr lang="en-AU" sz="1000" dirty="0">
                <a:solidFill>
                  <a:srgbClr val="37465B"/>
                </a:solidFill>
                <a:highlight>
                  <a:srgbClr val="FFFF00"/>
                </a:highlight>
                <a:latin typeface="Arial" panose="020B0604020202020204" pitchFamily="34" charset="0"/>
                <a:cs typeface="Arial" panose="020B0604020202020204" pitchFamily="34" charset="0"/>
              </a:rPr>
              <a:t>Miscellaneous Consent</a:t>
            </a:r>
          </a:p>
          <a:p>
            <a:pPr marL="144000" indent="-144000">
              <a:spcAft>
                <a:spcPts val="600"/>
              </a:spcAft>
              <a:buFont typeface="Arial" panose="020B0604020202020204" pitchFamily="34" charset="0"/>
              <a:buChar char="•"/>
            </a:pPr>
            <a:r>
              <a:rPr lang="en-AU" sz="1000" dirty="0">
                <a:solidFill>
                  <a:srgbClr val="37465B"/>
                </a:solidFill>
                <a:highlight>
                  <a:srgbClr val="FFFF00"/>
                </a:highlight>
                <a:latin typeface="Arial" panose="020B0604020202020204" pitchFamily="34" charset="0"/>
                <a:cs typeface="Arial" panose="020B0604020202020204" pitchFamily="34" charset="0"/>
              </a:rPr>
              <a:t>Single dwelling applications unless in RCZ/FZ/HO</a:t>
            </a:r>
          </a:p>
          <a:p>
            <a:pPr marL="144000" indent="-144000">
              <a:spcAft>
                <a:spcPts val="600"/>
              </a:spcAft>
              <a:buFont typeface="Arial" panose="020B0604020202020204" pitchFamily="34" charset="0"/>
              <a:buChar char="•"/>
            </a:pPr>
            <a:r>
              <a:rPr lang="en-AU" sz="1000" dirty="0">
                <a:solidFill>
                  <a:srgbClr val="37465B"/>
                </a:solidFill>
                <a:highlight>
                  <a:srgbClr val="FFFF00"/>
                </a:highlight>
                <a:latin typeface="Arial" panose="020B0604020202020204" pitchFamily="34" charset="0"/>
                <a:cs typeface="Arial" panose="020B0604020202020204" pitchFamily="34" charset="0"/>
              </a:rPr>
              <a:t>Condition 1 plans</a:t>
            </a:r>
          </a:p>
          <a:p>
            <a:pPr marL="144000" indent="-144000">
              <a:spcAft>
                <a:spcPts val="600"/>
              </a:spcAft>
              <a:buFont typeface="Arial" panose="020B0604020202020204" pitchFamily="34" charset="0"/>
              <a:buChar char="•"/>
            </a:pPr>
            <a:r>
              <a:rPr lang="en-AU" sz="1000" dirty="0">
                <a:solidFill>
                  <a:srgbClr val="37465B"/>
                </a:solidFill>
                <a:highlight>
                  <a:srgbClr val="FFFF00"/>
                </a:highlight>
                <a:latin typeface="Arial" panose="020B0604020202020204" pitchFamily="34" charset="0"/>
                <a:cs typeface="Arial" panose="020B0604020202020204" pitchFamily="34" charset="0"/>
              </a:rPr>
              <a:t>Dwellings in a bushfire management overlay</a:t>
            </a:r>
          </a:p>
        </p:txBody>
      </p:sp>
      <p:sp>
        <p:nvSpPr>
          <p:cNvPr id="12" name="Rectangle 11">
            <a:extLst>
              <a:ext uri="{FF2B5EF4-FFF2-40B4-BE49-F238E27FC236}">
                <a16:creationId xmlns:a16="http://schemas.microsoft.com/office/drawing/2014/main" id="{BCB209EF-AEB0-7C02-71C1-11470F8D63D5}"/>
              </a:ext>
            </a:extLst>
          </p:cNvPr>
          <p:cNvSpPr/>
          <p:nvPr/>
        </p:nvSpPr>
        <p:spPr>
          <a:xfrm>
            <a:off x="2962141" y="1852709"/>
            <a:ext cx="7287462" cy="4462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b="1">
                <a:solidFill>
                  <a:schemeClr val="bg1"/>
                </a:solidFill>
                <a:latin typeface="+mj-lt"/>
              </a:rPr>
              <a:t>Pre-app recommended</a:t>
            </a:r>
          </a:p>
        </p:txBody>
      </p:sp>
      <p:sp>
        <p:nvSpPr>
          <p:cNvPr id="7" name="Rectangle 6">
            <a:extLst>
              <a:ext uri="{FF2B5EF4-FFF2-40B4-BE49-F238E27FC236}">
                <a16:creationId xmlns:a16="http://schemas.microsoft.com/office/drawing/2014/main" id="{4375EF62-C405-2D20-2FD9-E55059FBCAEB}"/>
              </a:ext>
            </a:extLst>
          </p:cNvPr>
          <p:cNvSpPr/>
          <p:nvPr/>
        </p:nvSpPr>
        <p:spPr>
          <a:xfrm>
            <a:off x="2962141" y="2395219"/>
            <a:ext cx="2247599" cy="3872846"/>
          </a:xfrm>
          <a:prstGeom prst="rect">
            <a:avLst/>
          </a:prstGeom>
          <a:solidFill>
            <a:srgbClr val="F2F2F2">
              <a:alpha val="6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00"/>
              </a:spcAft>
            </a:pPr>
            <a:r>
              <a:rPr lang="en-AU" sz="1000" b="1" dirty="0">
                <a:solidFill>
                  <a:srgbClr val="017D7D"/>
                </a:solidFill>
                <a:latin typeface="+mj-lt"/>
              </a:rPr>
              <a:t>Recommended for </a:t>
            </a:r>
            <a:br>
              <a:rPr lang="en-AU" sz="1000" b="1" dirty="0">
                <a:solidFill>
                  <a:srgbClr val="017D7D"/>
                </a:solidFill>
                <a:latin typeface="+mj-lt"/>
              </a:rPr>
            </a:br>
            <a:r>
              <a:rPr lang="en-AU" sz="1000" b="1" dirty="0">
                <a:solidFill>
                  <a:srgbClr val="017D7D"/>
                </a:solidFill>
                <a:latin typeface="+mj-lt"/>
              </a:rPr>
              <a:t>Basic pre-app </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Strata/infill subdivision applications</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Rural subdivisions</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Greenfield subdivision applications (15 or less)</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New commercial/industrial development (e.g., new buildings)</a:t>
            </a:r>
          </a:p>
        </p:txBody>
      </p:sp>
      <p:sp>
        <p:nvSpPr>
          <p:cNvPr id="8" name="Rectangle 7">
            <a:extLst>
              <a:ext uri="{FF2B5EF4-FFF2-40B4-BE49-F238E27FC236}">
                <a16:creationId xmlns:a16="http://schemas.microsoft.com/office/drawing/2014/main" id="{65B482BE-6481-E986-E23E-051922EB99C0}"/>
              </a:ext>
            </a:extLst>
          </p:cNvPr>
          <p:cNvSpPr/>
          <p:nvPr/>
        </p:nvSpPr>
        <p:spPr>
          <a:xfrm>
            <a:off x="5482072" y="2395219"/>
            <a:ext cx="2247599" cy="3872846"/>
          </a:xfrm>
          <a:prstGeom prst="rect">
            <a:avLst/>
          </a:prstGeom>
          <a:solidFill>
            <a:srgbClr val="F2F2F2">
              <a:alpha val="6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00"/>
              </a:spcAft>
            </a:pPr>
            <a:r>
              <a:rPr lang="en-AU" sz="1000" b="1" dirty="0">
                <a:solidFill>
                  <a:srgbClr val="017D7D"/>
                </a:solidFill>
                <a:latin typeface="+mj-lt"/>
              </a:rPr>
              <a:t>Recommended for </a:t>
            </a:r>
            <a:br>
              <a:rPr lang="en-AU" sz="1000" b="1" dirty="0">
                <a:solidFill>
                  <a:srgbClr val="017D7D"/>
                </a:solidFill>
                <a:latin typeface="+mj-lt"/>
              </a:rPr>
            </a:br>
            <a:r>
              <a:rPr lang="en-AU" sz="1000" b="1" dirty="0">
                <a:solidFill>
                  <a:srgbClr val="017D7D"/>
                </a:solidFill>
                <a:latin typeface="+mj-lt"/>
              </a:rPr>
              <a:t>Intermediate pre-app</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RCZ/FZ single dwellings</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Multi-unit development</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Greenfield subdivision applications (15 or more)</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Land use applications (Section 2/discretionary use applications)</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Childcare or medical centres</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Medium-large projects (3-15 million)</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All HO applications</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Amendments to VCAT/Council applications</a:t>
            </a:r>
          </a:p>
        </p:txBody>
      </p:sp>
      <p:sp>
        <p:nvSpPr>
          <p:cNvPr id="9" name="Rectangle 8">
            <a:extLst>
              <a:ext uri="{FF2B5EF4-FFF2-40B4-BE49-F238E27FC236}">
                <a16:creationId xmlns:a16="http://schemas.microsoft.com/office/drawing/2014/main" id="{3214327B-1E02-D38C-FC39-400AE630D499}"/>
              </a:ext>
            </a:extLst>
          </p:cNvPr>
          <p:cNvSpPr/>
          <p:nvPr/>
        </p:nvSpPr>
        <p:spPr>
          <a:xfrm>
            <a:off x="8002004" y="2395219"/>
            <a:ext cx="2247599" cy="3872846"/>
          </a:xfrm>
          <a:prstGeom prst="rect">
            <a:avLst/>
          </a:prstGeom>
          <a:solidFill>
            <a:srgbClr val="F2F2F2">
              <a:alpha val="60000"/>
            </a:srgb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200"/>
              </a:spcAft>
            </a:pPr>
            <a:r>
              <a:rPr lang="en-AU" sz="1000" b="1" dirty="0">
                <a:solidFill>
                  <a:srgbClr val="017D7D"/>
                </a:solidFill>
                <a:latin typeface="+mj-lt"/>
              </a:rPr>
              <a:t>Recommended for Detailed/Complex pre-app</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Large-scale vegetation removal</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Applications with high potential for environmental/amenity impact</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Significant community interest</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Place of Assembly applications</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Applications on Public Land</a:t>
            </a:r>
          </a:p>
          <a:p>
            <a:pPr marL="144000" indent="-144000">
              <a:spcAft>
                <a:spcPts val="600"/>
              </a:spcAft>
              <a:buFont typeface="Arial" panose="020B0604020202020204" pitchFamily="34" charset="0"/>
              <a:buChar char="•"/>
            </a:pPr>
            <a:r>
              <a:rPr lang="en-AU" sz="1000" dirty="0">
                <a:solidFill>
                  <a:srgbClr val="37465B"/>
                </a:solidFill>
                <a:highlight>
                  <a:srgbClr val="FFFF00"/>
                </a:highlight>
              </a:rPr>
              <a:t>Large projects (15+ million)</a:t>
            </a:r>
          </a:p>
        </p:txBody>
      </p:sp>
      <p:sp>
        <p:nvSpPr>
          <p:cNvPr id="10" name="TextBox 9">
            <a:extLst>
              <a:ext uri="{FF2B5EF4-FFF2-40B4-BE49-F238E27FC236}">
                <a16:creationId xmlns:a16="http://schemas.microsoft.com/office/drawing/2014/main" id="{2EA4F48E-8623-8DFC-9890-7F0A7BFDB76E}"/>
              </a:ext>
            </a:extLst>
          </p:cNvPr>
          <p:cNvSpPr txBox="1"/>
          <p:nvPr/>
        </p:nvSpPr>
        <p:spPr>
          <a:xfrm>
            <a:off x="585788" y="6525644"/>
            <a:ext cx="4943694" cy="553998"/>
          </a:xfrm>
          <a:prstGeom prst="rect">
            <a:avLst/>
          </a:prstGeom>
          <a:noFill/>
          <a:ln>
            <a:solidFill>
              <a:srgbClr val="FF0000"/>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dirty="0">
                <a:solidFill>
                  <a:srgbClr val="FF0000"/>
                </a:solidFill>
                <a:latin typeface="Arial"/>
                <a:cs typeface="Segoe UI"/>
              </a:rPr>
              <a:t>Implementation note: </a:t>
            </a:r>
            <a:r>
              <a:rPr lang="en-US" sz="1000" dirty="0" err="1">
                <a:solidFill>
                  <a:srgbClr val="FF0000"/>
                </a:solidFill>
                <a:latin typeface="Arial"/>
                <a:cs typeface="Segoe UI"/>
              </a:rPr>
              <a:t>Customise</a:t>
            </a:r>
            <a:r>
              <a:rPr lang="en-US" sz="1000" dirty="0">
                <a:solidFill>
                  <a:srgbClr val="FF0000"/>
                </a:solidFill>
                <a:latin typeface="Arial"/>
                <a:cs typeface="Segoe UI"/>
              </a:rPr>
              <a:t> what requires a pre-app and what does not based on requirements in your specific council, the below are examples only. You may also delete the tiers of pre-app if a single service is offered in your council. </a:t>
            </a:r>
          </a:p>
        </p:txBody>
      </p:sp>
    </p:spTree>
    <p:extLst>
      <p:ext uri="{BB962C8B-B14F-4D97-AF65-F5344CB8AC3E}">
        <p14:creationId xmlns:p14="http://schemas.microsoft.com/office/powerpoint/2010/main" val="23571767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71927FE-2913-39A6-624B-BCE8AC83F71D}"/>
              </a:ext>
            </a:extLst>
          </p:cNvPr>
          <p:cNvSpPr txBox="1">
            <a:spLocks noGrp="1"/>
          </p:cNvSpPr>
          <p:nvPr>
            <p:ph type="title" idx="4294967295"/>
          </p:nvPr>
        </p:nvSpPr>
        <p:spPr>
          <a:xfrm>
            <a:off x="585788" y="655462"/>
            <a:ext cx="9663816" cy="446276"/>
          </a:xfrm>
          <a:prstGeom prst="rect">
            <a:avLst/>
          </a:prstGeom>
          <a:noFill/>
          <a:ln>
            <a:noFill/>
            <a:prstDash/>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marL="0" marR="0" lvl="0" indent="0" algn="l" defTabSz="995070" rtl="0" eaLnBrk="1" fontAlgn="auto" latinLnBrk="0" hangingPunct="1">
              <a:lnSpc>
                <a:spcPct val="100000"/>
              </a:lnSpc>
              <a:spcBef>
                <a:spcPts val="0"/>
              </a:spcBef>
              <a:spcAft>
                <a:spcPts val="0"/>
              </a:spcAft>
              <a:buClrTx/>
              <a:buSzTx/>
              <a:buFontTx/>
              <a:buNone/>
              <a:tabLst/>
              <a:defRPr/>
            </a:pPr>
            <a:r>
              <a:rPr kumimoji="0" lang="en-AU" sz="2300" b="1" i="0" u="none" strike="noStrike" kern="1200" cap="none" spc="0" normalizeH="0" baseline="0" noProof="0" dirty="0">
                <a:ln>
                  <a:noFill/>
                </a:ln>
                <a:solidFill>
                  <a:srgbClr val="465762"/>
                </a:solidFill>
                <a:effectLst/>
                <a:uLnTx/>
                <a:uFillTx/>
                <a:latin typeface="+mn-lt"/>
                <a:ea typeface="+mn-ea"/>
                <a:cs typeface="Segoe UI" panose="020B0502040204020203" pitchFamily="34" charset="0"/>
              </a:rPr>
              <a:t>Automated pre-app request email response</a:t>
            </a:r>
            <a:endParaRPr kumimoji="0" lang="en-AU" sz="2300" b="0" i="0" u="none" strike="noStrike" kern="1200" cap="none" spc="0" normalizeH="0" baseline="0" noProof="0" dirty="0">
              <a:ln>
                <a:noFill/>
              </a:ln>
              <a:solidFill>
                <a:srgbClr val="465762"/>
              </a:solidFill>
              <a:effectLst/>
              <a:uLnTx/>
              <a:uFillTx/>
              <a:latin typeface="+mn-lt"/>
              <a:ea typeface="+mn-ea"/>
              <a:cs typeface="Segoe UI" panose="020B0502040204020203" pitchFamily="34" charset="0"/>
            </a:endParaRPr>
          </a:p>
        </p:txBody>
      </p:sp>
      <p:sp>
        <p:nvSpPr>
          <p:cNvPr id="15" name="TextBox 14">
            <a:extLst>
              <a:ext uri="{FF2B5EF4-FFF2-40B4-BE49-F238E27FC236}">
                <a16:creationId xmlns:a16="http://schemas.microsoft.com/office/drawing/2014/main" id="{E027A57B-BC31-BBCB-2C97-CE34ECD807EE}"/>
              </a:ext>
            </a:extLst>
          </p:cNvPr>
          <p:cNvSpPr txBox="1"/>
          <p:nvPr/>
        </p:nvSpPr>
        <p:spPr>
          <a:xfrm>
            <a:off x="585788" y="1785842"/>
            <a:ext cx="9663816" cy="5401479"/>
          </a:xfrm>
          <a:prstGeom prst="rect">
            <a:avLst/>
          </a:prstGeom>
          <a:noFill/>
        </p:spPr>
        <p:txBody>
          <a:bodyPr wrap="square" lIns="0">
            <a:spAutoFit/>
          </a:bodyPr>
          <a:lstStyle/>
          <a:p>
            <a:pPr>
              <a:spcAft>
                <a:spcPts val="600"/>
              </a:spcAft>
            </a:pPr>
            <a:r>
              <a:rPr lang="en-AU" sz="1000" dirty="0">
                <a:solidFill>
                  <a:srgbClr val="37465B"/>
                </a:solidFill>
              </a:rPr>
              <a:t>Thank you for submitting a pre-application request with </a:t>
            </a:r>
            <a:r>
              <a:rPr lang="en-AU" sz="1000" dirty="0">
                <a:solidFill>
                  <a:srgbClr val="37465B"/>
                </a:solidFill>
                <a:highlight>
                  <a:srgbClr val="FFFF00"/>
                </a:highlight>
              </a:rPr>
              <a:t>&lt;insert council name&gt;</a:t>
            </a:r>
            <a:r>
              <a:rPr lang="en-AU" sz="1000" dirty="0">
                <a:solidFill>
                  <a:srgbClr val="37465B"/>
                </a:solidFill>
              </a:rPr>
              <a:t> </a:t>
            </a:r>
          </a:p>
          <a:p>
            <a:pPr>
              <a:spcAft>
                <a:spcPts val="600"/>
              </a:spcAft>
            </a:pPr>
            <a:r>
              <a:rPr lang="en-AU" sz="1000" b="1" dirty="0">
                <a:solidFill>
                  <a:srgbClr val="37465B"/>
                </a:solidFill>
              </a:rPr>
              <a:t>What is a Pre-Application?</a:t>
            </a:r>
          </a:p>
          <a:p>
            <a:pPr>
              <a:spcAft>
                <a:spcPts val="600"/>
              </a:spcAft>
            </a:pPr>
            <a:r>
              <a:rPr lang="en-AU" sz="1000" dirty="0">
                <a:solidFill>
                  <a:srgbClr val="37465B"/>
                </a:solidFill>
              </a:rPr>
              <a:t>A pre-application meeting is a two-way conversation between a prospective applicant and planning officers. This discussion is intended to provide all parties with a better understanding of the Planning scheme requirements, Council policies and officers’ views. Following discussions, the planning officer will share advice and next steps with you in written form.</a:t>
            </a:r>
          </a:p>
          <a:p>
            <a:pPr>
              <a:spcAft>
                <a:spcPts val="600"/>
              </a:spcAft>
            </a:pPr>
            <a:r>
              <a:rPr lang="en-AU" sz="1000" b="1" dirty="0">
                <a:solidFill>
                  <a:srgbClr val="37465B"/>
                </a:solidFill>
              </a:rPr>
              <a:t>Timeframes</a:t>
            </a:r>
          </a:p>
          <a:p>
            <a:pPr>
              <a:spcAft>
                <a:spcPts val="600"/>
              </a:spcAft>
            </a:pPr>
            <a:r>
              <a:rPr lang="en-AU" sz="1000" dirty="0">
                <a:solidFill>
                  <a:srgbClr val="37465B"/>
                </a:solidFill>
              </a:rPr>
              <a:t>Where a meeting is considered necessary, one of our planning officers will be in touch to schedule a meeting within </a:t>
            </a:r>
            <a:r>
              <a:rPr lang="en-AU" sz="1000" dirty="0">
                <a:solidFill>
                  <a:srgbClr val="37465B"/>
                </a:solidFill>
                <a:highlight>
                  <a:srgbClr val="FFFF00"/>
                </a:highlight>
              </a:rPr>
              <a:t>&lt;X days&gt;  </a:t>
            </a:r>
            <a:r>
              <a:rPr lang="en-AU" sz="1000" dirty="0">
                <a:solidFill>
                  <a:srgbClr val="37465B"/>
                </a:solidFill>
              </a:rPr>
              <a:t>of your request. </a:t>
            </a:r>
          </a:p>
          <a:p>
            <a:pPr>
              <a:spcAft>
                <a:spcPts val="600"/>
              </a:spcAft>
            </a:pPr>
            <a:r>
              <a:rPr lang="en-AU" sz="1000" dirty="0">
                <a:solidFill>
                  <a:srgbClr val="37465B"/>
                </a:solidFill>
              </a:rPr>
              <a:t>Where a proposal generates few issues or is sufficiently minor to not warrant a meeting, your request will be allocated to an Officer for review. Please allow up to </a:t>
            </a:r>
            <a:r>
              <a:rPr lang="en-AU" sz="1000" dirty="0">
                <a:solidFill>
                  <a:srgbClr val="37465B"/>
                </a:solidFill>
                <a:highlight>
                  <a:srgbClr val="FFFF00"/>
                </a:highlight>
              </a:rPr>
              <a:t>&lt;X days&gt; </a:t>
            </a:r>
            <a:r>
              <a:rPr lang="en-AU" sz="1000" dirty="0">
                <a:solidFill>
                  <a:srgbClr val="37465B"/>
                </a:solidFill>
              </a:rPr>
              <a:t>for a phone call or email.</a:t>
            </a:r>
          </a:p>
          <a:p>
            <a:r>
              <a:rPr lang="en-AU" sz="1000" b="1" dirty="0">
                <a:solidFill>
                  <a:srgbClr val="37465B"/>
                </a:solidFill>
              </a:rPr>
              <a:t>What is required for the Pre-application meeting to be scheduled?</a:t>
            </a:r>
          </a:p>
          <a:p>
            <a:pPr marL="171450" indent="-171450">
              <a:buFont typeface="Arial" panose="020B0604020202020204" pitchFamily="34" charset="0"/>
              <a:buChar char="•"/>
            </a:pPr>
            <a:r>
              <a:rPr lang="en-AU" sz="1000" dirty="0">
                <a:solidFill>
                  <a:srgbClr val="37465B"/>
                </a:solidFill>
              </a:rPr>
              <a:t>A clear description of what you are proposing</a:t>
            </a:r>
          </a:p>
          <a:p>
            <a:pPr marL="171450" indent="-171450">
              <a:buFont typeface="Arial" panose="020B0604020202020204" pitchFamily="34" charset="0"/>
              <a:buChar char="•"/>
            </a:pPr>
            <a:r>
              <a:rPr lang="en-AU" sz="1000" dirty="0">
                <a:solidFill>
                  <a:srgbClr val="37465B"/>
                </a:solidFill>
              </a:rPr>
              <a:t>Location/site plan </a:t>
            </a:r>
          </a:p>
          <a:p>
            <a:pPr marL="171450" indent="-171450">
              <a:buFont typeface="Arial" panose="020B0604020202020204" pitchFamily="34" charset="0"/>
              <a:buChar char="•"/>
            </a:pPr>
            <a:r>
              <a:rPr lang="en-AU" sz="1000" dirty="0">
                <a:solidFill>
                  <a:srgbClr val="37465B"/>
                </a:solidFill>
              </a:rPr>
              <a:t>Current copy of Title, including any covenants, MCP’s or section 173 agreements</a:t>
            </a:r>
          </a:p>
          <a:p>
            <a:pPr marL="171450" indent="-171450">
              <a:buFont typeface="Arial" panose="020B0604020202020204" pitchFamily="34" charset="0"/>
              <a:buChar char="•"/>
            </a:pPr>
            <a:r>
              <a:rPr lang="en-AU" sz="1000" dirty="0">
                <a:solidFill>
                  <a:srgbClr val="37465B"/>
                </a:solidFill>
              </a:rPr>
              <a:t>Plans of the proposal</a:t>
            </a:r>
          </a:p>
          <a:p>
            <a:pPr marL="171450" indent="-171450">
              <a:spcAft>
                <a:spcPts val="600"/>
              </a:spcAft>
              <a:buFont typeface="Arial" panose="020B0604020202020204" pitchFamily="34" charset="0"/>
              <a:buChar char="•"/>
            </a:pPr>
            <a:r>
              <a:rPr lang="en-AU" sz="1000" dirty="0">
                <a:solidFill>
                  <a:srgbClr val="37465B"/>
                </a:solidFill>
              </a:rPr>
              <a:t>Photos of the site and surrounds</a:t>
            </a:r>
          </a:p>
          <a:p>
            <a:pPr>
              <a:spcAft>
                <a:spcPts val="600"/>
              </a:spcAft>
            </a:pPr>
            <a:r>
              <a:rPr lang="en-AU" sz="1000" b="1" i="1" dirty="0">
                <a:solidFill>
                  <a:srgbClr val="37465B"/>
                </a:solidFill>
              </a:rPr>
              <a:t>Please note, if you have not provided any of the documents above, the Council will be unable to schedule the requested pre-application meeting. The planning team will contact you and inform you about what’s missing. You will be given </a:t>
            </a:r>
            <a:r>
              <a:rPr lang="en-AU" sz="1000" dirty="0">
                <a:solidFill>
                  <a:srgbClr val="37465B"/>
                </a:solidFill>
                <a:highlight>
                  <a:srgbClr val="FFFF00"/>
                </a:highlight>
              </a:rPr>
              <a:t>&lt;X days&gt; </a:t>
            </a:r>
            <a:r>
              <a:rPr lang="en-AU" sz="1000" b="1" i="1" dirty="0">
                <a:solidFill>
                  <a:srgbClr val="37465B"/>
                </a:solidFill>
              </a:rPr>
              <a:t>to provide the documents. If you do not meet this timeline, your request will lapse.</a:t>
            </a:r>
          </a:p>
          <a:p>
            <a:pPr>
              <a:spcAft>
                <a:spcPts val="600"/>
              </a:spcAft>
            </a:pPr>
            <a:r>
              <a:rPr lang="en-AU" sz="1000" b="1" dirty="0">
                <a:solidFill>
                  <a:srgbClr val="37465B"/>
                </a:solidFill>
              </a:rPr>
              <a:t>What to expect in a Pre-application meeting?</a:t>
            </a:r>
          </a:p>
          <a:p>
            <a:r>
              <a:rPr lang="en-AU" sz="1000" dirty="0">
                <a:solidFill>
                  <a:srgbClr val="37465B"/>
                </a:solidFill>
              </a:rPr>
              <a:t>If a meeting is deemed necessary, the following sets out an example of how the discussion will be structured:</a:t>
            </a:r>
          </a:p>
          <a:p>
            <a:pPr marL="171450" indent="-171450">
              <a:buFont typeface="Arial" panose="020B0604020202020204" pitchFamily="34" charset="0"/>
              <a:buChar char="•"/>
            </a:pPr>
            <a:r>
              <a:rPr lang="en-AU" sz="1000" dirty="0">
                <a:solidFill>
                  <a:srgbClr val="37465B"/>
                </a:solidFill>
              </a:rPr>
              <a:t>Introduction of attendees (All Parties)</a:t>
            </a:r>
          </a:p>
          <a:p>
            <a:pPr marL="171450" indent="-171450">
              <a:buFont typeface="Arial" panose="020B0604020202020204" pitchFamily="34" charset="0"/>
              <a:buChar char="•"/>
            </a:pPr>
            <a:r>
              <a:rPr lang="en-AU" sz="1000" dirty="0">
                <a:solidFill>
                  <a:srgbClr val="37465B"/>
                </a:solidFill>
              </a:rPr>
              <a:t>Purpose of the Pre-Application meeting (Officer)</a:t>
            </a:r>
          </a:p>
          <a:p>
            <a:pPr marL="171450" indent="-171450">
              <a:buFont typeface="Arial" panose="020B0604020202020204" pitchFamily="34" charset="0"/>
              <a:buChar char="•"/>
            </a:pPr>
            <a:r>
              <a:rPr lang="en-AU" sz="1000" dirty="0">
                <a:solidFill>
                  <a:srgbClr val="37465B"/>
                </a:solidFill>
              </a:rPr>
              <a:t>Summary of proposal (All Parties)</a:t>
            </a:r>
          </a:p>
          <a:p>
            <a:pPr marL="171450" indent="-171450">
              <a:buFont typeface="Arial" panose="020B0604020202020204" pitchFamily="34" charset="0"/>
              <a:buChar char="•"/>
            </a:pPr>
            <a:r>
              <a:rPr lang="en-AU" sz="1000" dirty="0">
                <a:solidFill>
                  <a:srgbClr val="37465B"/>
                </a:solidFill>
              </a:rPr>
              <a:t>Explanation of key planning controls and considerations (Officer)</a:t>
            </a:r>
          </a:p>
          <a:p>
            <a:pPr marL="171450" indent="-171450">
              <a:buFont typeface="Arial" panose="020B0604020202020204" pitchFamily="34" charset="0"/>
              <a:buChar char="•"/>
            </a:pPr>
            <a:r>
              <a:rPr lang="en-AU" sz="1000" dirty="0">
                <a:solidFill>
                  <a:srgbClr val="37465B"/>
                </a:solidFill>
              </a:rPr>
              <a:t>Any questions (All Parties)</a:t>
            </a:r>
          </a:p>
          <a:p>
            <a:pPr marL="171450" indent="-171450">
              <a:spcAft>
                <a:spcPts val="600"/>
              </a:spcAft>
              <a:buFont typeface="Arial" panose="020B0604020202020204" pitchFamily="34" charset="0"/>
              <a:buChar char="•"/>
            </a:pPr>
            <a:r>
              <a:rPr lang="en-AU" sz="1000" dirty="0">
                <a:solidFill>
                  <a:srgbClr val="37465B"/>
                </a:solidFill>
              </a:rPr>
              <a:t>Discussion of next steps (Officer)</a:t>
            </a:r>
          </a:p>
          <a:p>
            <a:pPr>
              <a:spcAft>
                <a:spcPts val="600"/>
              </a:spcAft>
            </a:pPr>
            <a:r>
              <a:rPr lang="en-AU" sz="1000" dirty="0">
                <a:solidFill>
                  <a:srgbClr val="37465B"/>
                </a:solidFill>
              </a:rPr>
              <a:t> Please call </a:t>
            </a:r>
            <a:r>
              <a:rPr lang="en-AU" sz="1000" dirty="0">
                <a:solidFill>
                  <a:srgbClr val="37465B"/>
                </a:solidFill>
                <a:highlight>
                  <a:srgbClr val="FFFF00"/>
                </a:highlight>
              </a:rPr>
              <a:t>&lt;insert phone number&gt;</a:t>
            </a:r>
            <a:r>
              <a:rPr lang="en-AU" sz="1000" dirty="0">
                <a:solidFill>
                  <a:srgbClr val="37465B"/>
                </a:solidFill>
              </a:rPr>
              <a:t> if you have any enquiries.</a:t>
            </a:r>
          </a:p>
          <a:p>
            <a:pPr>
              <a:spcAft>
                <a:spcPts val="600"/>
              </a:spcAft>
            </a:pPr>
            <a:r>
              <a:rPr lang="en-AU" sz="1000" dirty="0">
                <a:solidFill>
                  <a:srgbClr val="37465B"/>
                </a:solidFill>
              </a:rPr>
              <a:t>Thank you,</a:t>
            </a:r>
            <a:br>
              <a:rPr lang="en-AU" sz="1000" dirty="0">
                <a:solidFill>
                  <a:srgbClr val="37465B"/>
                </a:solidFill>
              </a:rPr>
            </a:br>
            <a:r>
              <a:rPr lang="en-AU" sz="1000" dirty="0">
                <a:solidFill>
                  <a:srgbClr val="37465B"/>
                </a:solidFill>
              </a:rPr>
              <a:t>Statutory Planning Team</a:t>
            </a:r>
          </a:p>
        </p:txBody>
      </p:sp>
    </p:spTree>
    <p:extLst>
      <p:ext uri="{BB962C8B-B14F-4D97-AF65-F5344CB8AC3E}">
        <p14:creationId xmlns:p14="http://schemas.microsoft.com/office/powerpoint/2010/main" val="36018848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D34386E-C46F-AB38-29AB-7A741AD47005}"/>
              </a:ext>
            </a:extLst>
          </p:cNvPr>
          <p:cNvSpPr txBox="1">
            <a:spLocks noGrp="1"/>
          </p:cNvSpPr>
          <p:nvPr>
            <p:ph type="title" idx="4294967295"/>
          </p:nvPr>
        </p:nvSpPr>
        <p:spPr>
          <a:xfrm>
            <a:off x="585788" y="655462"/>
            <a:ext cx="6832651" cy="446276"/>
          </a:xfrm>
          <a:prstGeom prst="rect">
            <a:avLst/>
          </a:prstGeom>
          <a:noFill/>
          <a:ln>
            <a:noFill/>
            <a:prstDash/>
          </a:ln>
          <a:effectLst/>
        </p:spPr>
        <p:txBody>
          <a:bodyPr rot="0" spcFirstLastPara="0" vertOverflow="overflow" horzOverflow="overflow" vert="horz" wrap="square" lIns="0" tIns="45720" rIns="0" bIns="45720" numCol="1" spcCol="0" rtlCol="0" fromWordArt="0" anchor="t" anchorCtr="0" forceAA="0" compatLnSpc="1">
            <a:prstTxWarp prst="textNoShape">
              <a:avLst/>
            </a:prstTxWarp>
            <a:spAutoFit/>
          </a:bodyPr>
          <a:lstStyle/>
          <a:p>
            <a:pPr marL="0" marR="0" lvl="0" indent="0" algn="l" defTabSz="995070" rtl="0" eaLnBrk="1" fontAlgn="auto" latinLnBrk="0" hangingPunct="1">
              <a:lnSpc>
                <a:spcPct val="100000"/>
              </a:lnSpc>
              <a:spcBef>
                <a:spcPts val="0"/>
              </a:spcBef>
              <a:spcAft>
                <a:spcPts val="0"/>
              </a:spcAft>
              <a:buClrTx/>
              <a:buSzTx/>
              <a:buFontTx/>
              <a:buNone/>
              <a:tabLst/>
              <a:defRPr/>
            </a:pPr>
            <a:r>
              <a:rPr kumimoji="0" lang="en-AU" sz="2300" b="1" i="0" u="none" strike="noStrike" kern="1200" cap="none" spc="0" normalizeH="0" baseline="0" noProof="0" dirty="0">
                <a:ln>
                  <a:noFill/>
                </a:ln>
                <a:solidFill>
                  <a:srgbClr val="465762"/>
                </a:solidFill>
                <a:effectLst/>
                <a:uLnTx/>
                <a:uFillTx/>
                <a:latin typeface="+mn-lt"/>
                <a:ea typeface="+mn-ea"/>
                <a:cs typeface="Segoe UI" panose="020B0502040204020203" pitchFamily="34" charset="0"/>
              </a:rPr>
              <a:t>Missing documentation response</a:t>
            </a:r>
          </a:p>
        </p:txBody>
      </p:sp>
      <p:sp>
        <p:nvSpPr>
          <p:cNvPr id="15" name="TextBox 14">
            <a:extLst>
              <a:ext uri="{FF2B5EF4-FFF2-40B4-BE49-F238E27FC236}">
                <a16:creationId xmlns:a16="http://schemas.microsoft.com/office/drawing/2014/main" id="{E027A57B-BC31-BBCB-2C97-CE34ECD807EE}"/>
              </a:ext>
            </a:extLst>
          </p:cNvPr>
          <p:cNvSpPr txBox="1"/>
          <p:nvPr/>
        </p:nvSpPr>
        <p:spPr>
          <a:xfrm>
            <a:off x="585787" y="1833076"/>
            <a:ext cx="9436763" cy="2939266"/>
          </a:xfrm>
          <a:prstGeom prst="rect">
            <a:avLst/>
          </a:prstGeom>
          <a:noFill/>
        </p:spPr>
        <p:txBody>
          <a:bodyPr wrap="square" lIns="0">
            <a:spAutoFit/>
          </a:bodyPr>
          <a:lstStyle/>
          <a:p>
            <a:pPr>
              <a:spcAft>
                <a:spcPts val="600"/>
              </a:spcAft>
            </a:pPr>
            <a:r>
              <a:rPr lang="en-AU" sz="1000" dirty="0">
                <a:solidFill>
                  <a:srgbClr val="37465B"/>
                </a:solidFill>
              </a:rPr>
              <a:t>Thank you for submitting a pre-application request with </a:t>
            </a:r>
            <a:r>
              <a:rPr lang="en-AU" sz="1000" dirty="0">
                <a:solidFill>
                  <a:srgbClr val="37465B"/>
                </a:solidFill>
                <a:highlight>
                  <a:srgbClr val="FFFF00"/>
                </a:highlight>
              </a:rPr>
              <a:t>&lt;insert council&gt; </a:t>
            </a:r>
            <a:endParaRPr lang="en-AU" sz="1000" dirty="0">
              <a:solidFill>
                <a:srgbClr val="37465B"/>
              </a:solidFill>
            </a:endParaRPr>
          </a:p>
          <a:p>
            <a:pPr>
              <a:spcAft>
                <a:spcPts val="600"/>
              </a:spcAft>
            </a:pPr>
            <a:r>
              <a:rPr lang="en-AU" sz="1000" b="1" dirty="0">
                <a:solidFill>
                  <a:srgbClr val="37465B"/>
                </a:solidFill>
              </a:rPr>
              <a:t>We would like to inform you that we cannot schedule the requested meeting at this time, as there is key documentation missing from your submission. </a:t>
            </a:r>
          </a:p>
          <a:p>
            <a:pPr>
              <a:spcAft>
                <a:spcPts val="600"/>
              </a:spcAft>
            </a:pPr>
            <a:r>
              <a:rPr lang="en-AU" sz="1000" dirty="0">
                <a:solidFill>
                  <a:srgbClr val="37465B"/>
                </a:solidFill>
              </a:rPr>
              <a:t>The following documentation is missing: </a:t>
            </a:r>
          </a:p>
          <a:p>
            <a:pPr marL="171450" indent="-171450">
              <a:spcAft>
                <a:spcPts val="600"/>
              </a:spcAft>
              <a:buFont typeface="Arial" panose="020B0604020202020204" pitchFamily="34" charset="0"/>
              <a:buChar char="•"/>
            </a:pPr>
            <a:r>
              <a:rPr lang="en-AU" sz="1000" dirty="0">
                <a:solidFill>
                  <a:srgbClr val="37465B"/>
                </a:solidFill>
                <a:highlight>
                  <a:srgbClr val="FFFF00"/>
                </a:highlight>
              </a:rPr>
              <a:t>&lt;insert&gt;</a:t>
            </a:r>
          </a:p>
          <a:p>
            <a:pPr>
              <a:spcAft>
                <a:spcPts val="600"/>
              </a:spcAft>
            </a:pPr>
            <a:r>
              <a:rPr lang="en-AU" sz="1000" b="1" dirty="0">
                <a:solidFill>
                  <a:srgbClr val="37465B"/>
                </a:solidFill>
              </a:rPr>
              <a:t>Timeframes</a:t>
            </a:r>
          </a:p>
          <a:p>
            <a:pPr>
              <a:spcAft>
                <a:spcPts val="600"/>
              </a:spcAft>
            </a:pPr>
            <a:r>
              <a:rPr lang="en-AU" sz="1000" dirty="0">
                <a:solidFill>
                  <a:srgbClr val="37465B"/>
                </a:solidFill>
              </a:rPr>
              <a:t>Please note, you have </a:t>
            </a:r>
            <a:r>
              <a:rPr lang="en-AU" sz="1000" dirty="0">
                <a:solidFill>
                  <a:srgbClr val="37465B"/>
                </a:solidFill>
                <a:highlight>
                  <a:srgbClr val="FFFF00"/>
                </a:highlight>
              </a:rPr>
              <a:t>&lt;X days&gt;</a:t>
            </a:r>
            <a:r>
              <a:rPr lang="en-AU" sz="1000" dirty="0">
                <a:solidFill>
                  <a:srgbClr val="37465B"/>
                </a:solidFill>
              </a:rPr>
              <a:t> to provide the documentation. If you fail to provide it by </a:t>
            </a:r>
            <a:r>
              <a:rPr lang="en-AU" sz="1000" dirty="0">
                <a:solidFill>
                  <a:srgbClr val="37465B"/>
                </a:solidFill>
                <a:highlight>
                  <a:srgbClr val="FFFF00"/>
                </a:highlight>
              </a:rPr>
              <a:t>&lt;insert date&gt; </a:t>
            </a:r>
            <a:r>
              <a:rPr lang="en-AU" sz="1000" dirty="0">
                <a:solidFill>
                  <a:srgbClr val="37465B"/>
                </a:solidFill>
              </a:rPr>
              <a:t> the Council will lapse your request and you will need to submit a new request with all the required documents.</a:t>
            </a:r>
          </a:p>
          <a:p>
            <a:pPr>
              <a:spcAft>
                <a:spcPts val="600"/>
              </a:spcAft>
            </a:pPr>
            <a:r>
              <a:rPr lang="en-AU" sz="1000" b="1" dirty="0">
                <a:solidFill>
                  <a:srgbClr val="37465B"/>
                </a:solidFill>
              </a:rPr>
              <a:t>Why do we need the documentation to proceed?</a:t>
            </a:r>
          </a:p>
          <a:p>
            <a:pPr>
              <a:spcAft>
                <a:spcPts val="600"/>
              </a:spcAft>
            </a:pPr>
            <a:r>
              <a:rPr lang="en-AU" sz="1000" dirty="0">
                <a:solidFill>
                  <a:srgbClr val="37465B"/>
                </a:solidFill>
              </a:rPr>
              <a:t>The Council officers need to review the documentation ahead of your pre-application meeting to be able to provide you with clear, actionable advice. This is to ensure that you make the most out of this service.</a:t>
            </a:r>
          </a:p>
          <a:p>
            <a:pPr>
              <a:spcAft>
                <a:spcPts val="600"/>
              </a:spcAft>
            </a:pPr>
            <a:r>
              <a:rPr lang="en-AU" sz="1000" dirty="0">
                <a:solidFill>
                  <a:srgbClr val="37465B"/>
                </a:solidFill>
              </a:rPr>
              <a:t>Please call </a:t>
            </a:r>
            <a:r>
              <a:rPr lang="en-AU" sz="1000" dirty="0">
                <a:solidFill>
                  <a:srgbClr val="37465B"/>
                </a:solidFill>
                <a:highlight>
                  <a:srgbClr val="FFFF00"/>
                </a:highlight>
              </a:rPr>
              <a:t>&lt;insert phone number&gt;</a:t>
            </a:r>
            <a:r>
              <a:rPr lang="en-AU" sz="1000" dirty="0">
                <a:solidFill>
                  <a:srgbClr val="37465B"/>
                </a:solidFill>
              </a:rPr>
              <a:t> if you have any enquiries.</a:t>
            </a:r>
          </a:p>
          <a:p>
            <a:pPr>
              <a:spcAft>
                <a:spcPts val="600"/>
              </a:spcAft>
            </a:pPr>
            <a:r>
              <a:rPr lang="en-AU" sz="1000" dirty="0">
                <a:solidFill>
                  <a:srgbClr val="37465B"/>
                </a:solidFill>
              </a:rPr>
              <a:t>Thank you,</a:t>
            </a:r>
            <a:br>
              <a:rPr lang="en-AU" sz="1000" dirty="0">
                <a:solidFill>
                  <a:srgbClr val="37465B"/>
                </a:solidFill>
              </a:rPr>
            </a:br>
            <a:br>
              <a:rPr lang="en-AU" sz="1000" dirty="0">
                <a:solidFill>
                  <a:srgbClr val="37465B"/>
                </a:solidFill>
              </a:rPr>
            </a:br>
            <a:r>
              <a:rPr lang="en-AU" sz="1000" dirty="0">
                <a:solidFill>
                  <a:srgbClr val="37465B"/>
                </a:solidFill>
              </a:rPr>
              <a:t>Statutory Planning Team</a:t>
            </a:r>
          </a:p>
        </p:txBody>
      </p:sp>
    </p:spTree>
    <p:extLst>
      <p:ext uri="{BB962C8B-B14F-4D97-AF65-F5344CB8AC3E}">
        <p14:creationId xmlns:p14="http://schemas.microsoft.com/office/powerpoint/2010/main" val="3142004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C83F2C1-9BD8-5F6A-8B0D-4D1E377946E4}"/>
              </a:ext>
            </a:extLst>
          </p:cNvPr>
          <p:cNvSpPr txBox="1">
            <a:spLocks noGrp="1"/>
          </p:cNvSpPr>
          <p:nvPr>
            <p:ph type="title" idx="4294967295"/>
          </p:nvPr>
        </p:nvSpPr>
        <p:spPr>
          <a:xfrm>
            <a:off x="585788" y="487683"/>
            <a:ext cx="6404947" cy="800219"/>
          </a:xfrm>
          <a:prstGeom prst="rect">
            <a:avLst/>
          </a:prstGeom>
          <a:noFill/>
          <a:ln>
            <a:noFill/>
            <a:prstDash/>
          </a:ln>
          <a:effectLst/>
        </p:spPr>
        <p:txBody>
          <a:bodyPr rot="0" spcFirstLastPara="0" vertOverflow="overflow" horzOverflow="overflow" vert="horz" wrap="square" lIns="0" tIns="45720" rIns="0" bIns="45720" numCol="1" spcCol="0" rtlCol="0" fromWordArt="0" anchor="ctr" anchorCtr="0" forceAA="0" compatLnSpc="1">
            <a:prstTxWarp prst="textNoShape">
              <a:avLst/>
            </a:prstTxWarp>
            <a:spAutoFit/>
          </a:bodyPr>
          <a:lstStyle/>
          <a:p>
            <a:pPr marL="0" marR="0" lvl="0" indent="0" algn="l" defTabSz="995070" rtl="0" eaLnBrk="1" fontAlgn="auto" latinLnBrk="0" hangingPunct="1">
              <a:lnSpc>
                <a:spcPct val="100000"/>
              </a:lnSpc>
              <a:spcBef>
                <a:spcPts val="0"/>
              </a:spcBef>
              <a:spcAft>
                <a:spcPts val="0"/>
              </a:spcAft>
              <a:buClrTx/>
              <a:buSzTx/>
              <a:buFontTx/>
              <a:buNone/>
              <a:tabLst/>
              <a:defRPr/>
            </a:pPr>
            <a:r>
              <a:rPr kumimoji="0" lang="en-AU" sz="2300" b="1" i="0" u="none" strike="noStrike" kern="1200" cap="none" spc="0" normalizeH="0" baseline="0" noProof="0" dirty="0">
                <a:ln>
                  <a:noFill/>
                </a:ln>
                <a:solidFill>
                  <a:srgbClr val="465762"/>
                </a:solidFill>
                <a:effectLst/>
                <a:uLnTx/>
                <a:uFillTx/>
                <a:latin typeface="+mn-lt"/>
                <a:ea typeface="+mn-ea"/>
                <a:cs typeface="Segoe UI" panose="020B0502040204020203" pitchFamily="34" charset="0"/>
              </a:rPr>
              <a:t>Email template for planners to schedule the pre-application meeting</a:t>
            </a:r>
          </a:p>
        </p:txBody>
      </p:sp>
      <p:sp>
        <p:nvSpPr>
          <p:cNvPr id="15" name="TextBox 14">
            <a:extLst>
              <a:ext uri="{FF2B5EF4-FFF2-40B4-BE49-F238E27FC236}">
                <a16:creationId xmlns:a16="http://schemas.microsoft.com/office/drawing/2014/main" id="{E027A57B-BC31-BBCB-2C97-CE34ECD807EE}"/>
              </a:ext>
            </a:extLst>
          </p:cNvPr>
          <p:cNvSpPr txBox="1"/>
          <p:nvPr/>
        </p:nvSpPr>
        <p:spPr>
          <a:xfrm>
            <a:off x="585787" y="1750235"/>
            <a:ext cx="9436765" cy="5555367"/>
          </a:xfrm>
          <a:prstGeom prst="rect">
            <a:avLst/>
          </a:prstGeom>
          <a:noFill/>
        </p:spPr>
        <p:txBody>
          <a:bodyPr wrap="square" lIns="0">
            <a:spAutoFit/>
          </a:bodyPr>
          <a:lstStyle/>
          <a:p>
            <a:pPr>
              <a:spcAft>
                <a:spcPts val="600"/>
              </a:spcAft>
            </a:pPr>
            <a:r>
              <a:rPr lang="en-AU" sz="1000" dirty="0">
                <a:solidFill>
                  <a:srgbClr val="37465B"/>
                </a:solidFill>
              </a:rPr>
              <a:t>Thank you again for submitting a pre-application request with </a:t>
            </a:r>
            <a:r>
              <a:rPr lang="en-AU" sz="1000" dirty="0">
                <a:solidFill>
                  <a:srgbClr val="37465B"/>
                </a:solidFill>
                <a:highlight>
                  <a:srgbClr val="FFFF00"/>
                </a:highlight>
              </a:rPr>
              <a:t>&lt;insert council&gt; </a:t>
            </a:r>
          </a:p>
          <a:p>
            <a:pPr>
              <a:spcAft>
                <a:spcPts val="600"/>
              </a:spcAft>
            </a:pPr>
            <a:r>
              <a:rPr lang="en-AU" sz="1000" dirty="0">
                <a:solidFill>
                  <a:srgbClr val="37465B"/>
                </a:solidFill>
              </a:rPr>
              <a:t>My name is </a:t>
            </a:r>
            <a:r>
              <a:rPr lang="en-AU" sz="1000" dirty="0">
                <a:solidFill>
                  <a:srgbClr val="37465B"/>
                </a:solidFill>
                <a:highlight>
                  <a:srgbClr val="FFFF00"/>
                </a:highlight>
              </a:rPr>
              <a:t>&lt;insert name&gt;</a:t>
            </a:r>
            <a:r>
              <a:rPr lang="en-AU" sz="1000" dirty="0">
                <a:solidFill>
                  <a:srgbClr val="37465B"/>
                </a:solidFill>
              </a:rPr>
              <a:t> and I will facilitate your pre-application meeting. </a:t>
            </a:r>
          </a:p>
          <a:p>
            <a:pPr>
              <a:spcAft>
                <a:spcPts val="600"/>
              </a:spcAft>
            </a:pPr>
            <a:r>
              <a:rPr lang="en-AU" sz="1000" dirty="0">
                <a:solidFill>
                  <a:srgbClr val="37465B"/>
                </a:solidFill>
              </a:rPr>
              <a:t>I am reaching out to schedule a suitable date and time for the meeting. The meeting will last approximately </a:t>
            </a:r>
            <a:r>
              <a:rPr lang="en-AU" sz="1000" dirty="0">
                <a:solidFill>
                  <a:srgbClr val="37465B"/>
                </a:solidFill>
                <a:highlight>
                  <a:srgbClr val="FFFF00"/>
                </a:highlight>
              </a:rPr>
              <a:t>&lt;insert&gt;</a:t>
            </a:r>
            <a:r>
              <a:rPr lang="en-AU" sz="1000" dirty="0">
                <a:solidFill>
                  <a:srgbClr val="37465B"/>
                </a:solidFill>
              </a:rPr>
              <a:t> </a:t>
            </a:r>
          </a:p>
          <a:p>
            <a:pPr>
              <a:spcAft>
                <a:spcPts val="600"/>
              </a:spcAft>
            </a:pPr>
            <a:r>
              <a:rPr lang="en-AU" sz="1000" dirty="0">
                <a:solidFill>
                  <a:srgbClr val="37465B"/>
                </a:solidFill>
              </a:rPr>
              <a:t>Can you please advise whether one of the following dates and times work for you:</a:t>
            </a:r>
          </a:p>
          <a:p>
            <a:pPr>
              <a:spcAft>
                <a:spcPts val="600"/>
              </a:spcAft>
            </a:pPr>
            <a:r>
              <a:rPr lang="en-AU" sz="1000" dirty="0">
                <a:solidFill>
                  <a:srgbClr val="37465B"/>
                </a:solidFill>
                <a:highlight>
                  <a:srgbClr val="FFFF00"/>
                </a:highlight>
              </a:rPr>
              <a:t>&lt;insert options&gt;</a:t>
            </a:r>
            <a:endParaRPr lang="en-AU" sz="1000" b="1" dirty="0">
              <a:solidFill>
                <a:srgbClr val="37465B"/>
              </a:solidFill>
              <a:highlight>
                <a:srgbClr val="FFFF00"/>
              </a:highlight>
            </a:endParaRPr>
          </a:p>
          <a:p>
            <a:pPr>
              <a:spcAft>
                <a:spcPts val="600"/>
              </a:spcAft>
            </a:pPr>
            <a:r>
              <a:rPr lang="en-AU" sz="1000" b="1" dirty="0">
                <a:solidFill>
                  <a:srgbClr val="37465B"/>
                </a:solidFill>
              </a:rPr>
              <a:t>How to make the most out of your pre-application meeting</a:t>
            </a:r>
          </a:p>
          <a:p>
            <a:pPr>
              <a:spcAft>
                <a:spcPts val="600"/>
              </a:spcAft>
            </a:pPr>
            <a:r>
              <a:rPr lang="en-AU" sz="1000" dirty="0">
                <a:solidFill>
                  <a:srgbClr val="37465B"/>
                </a:solidFill>
              </a:rPr>
              <a:t>Please ensure that you are ready to discuss the following:</a:t>
            </a:r>
          </a:p>
          <a:p>
            <a:pPr marL="171450" indent="-171450">
              <a:spcAft>
                <a:spcPts val="600"/>
              </a:spcAft>
              <a:buFont typeface="Arial" panose="020B0604020202020204" pitchFamily="34" charset="0"/>
              <a:buChar char="•"/>
            </a:pPr>
            <a:r>
              <a:rPr lang="en-AU" sz="1000" dirty="0">
                <a:solidFill>
                  <a:srgbClr val="37465B"/>
                </a:solidFill>
              </a:rPr>
              <a:t>Your current land use</a:t>
            </a:r>
          </a:p>
          <a:p>
            <a:pPr marL="171450" indent="-171450">
              <a:spcAft>
                <a:spcPts val="600"/>
              </a:spcAft>
              <a:buFont typeface="Arial" panose="020B0604020202020204" pitchFamily="34" charset="0"/>
              <a:buChar char="•"/>
            </a:pPr>
            <a:r>
              <a:rPr lang="en-AU" sz="1000" dirty="0">
                <a:solidFill>
                  <a:srgbClr val="37465B"/>
                </a:solidFill>
              </a:rPr>
              <a:t>Your proposal</a:t>
            </a:r>
          </a:p>
          <a:p>
            <a:pPr marL="171450" indent="-171450">
              <a:spcAft>
                <a:spcPts val="600"/>
              </a:spcAft>
              <a:buFont typeface="Arial" panose="020B0604020202020204" pitchFamily="34" charset="0"/>
              <a:buChar char="•"/>
            </a:pPr>
            <a:r>
              <a:rPr lang="en-AU" sz="1000" dirty="0">
                <a:solidFill>
                  <a:srgbClr val="37465B"/>
                </a:solidFill>
              </a:rPr>
              <a:t>Any questions you have</a:t>
            </a:r>
          </a:p>
          <a:p>
            <a:pPr>
              <a:spcAft>
                <a:spcPts val="600"/>
              </a:spcAft>
            </a:pPr>
            <a:r>
              <a:rPr lang="en-AU" sz="1000" b="1" dirty="0">
                <a:solidFill>
                  <a:srgbClr val="37465B"/>
                </a:solidFill>
              </a:rPr>
              <a:t>What to expect in a Pre-application meeting?</a:t>
            </a:r>
          </a:p>
          <a:p>
            <a:pPr>
              <a:spcAft>
                <a:spcPts val="600"/>
              </a:spcAft>
            </a:pPr>
            <a:r>
              <a:rPr lang="en-AU" sz="1000" dirty="0">
                <a:solidFill>
                  <a:srgbClr val="37465B"/>
                </a:solidFill>
              </a:rPr>
              <a:t>The meeting will be structured in the following way:</a:t>
            </a:r>
          </a:p>
          <a:p>
            <a:pPr marL="171450" indent="-171450">
              <a:spcAft>
                <a:spcPts val="600"/>
              </a:spcAft>
              <a:buFont typeface="Arial" panose="020B0604020202020204" pitchFamily="34" charset="0"/>
              <a:buChar char="•"/>
            </a:pPr>
            <a:r>
              <a:rPr lang="en-AU" sz="1000" dirty="0">
                <a:solidFill>
                  <a:srgbClr val="37465B"/>
                </a:solidFill>
              </a:rPr>
              <a:t>Introduction of attendees (All Parties)</a:t>
            </a:r>
          </a:p>
          <a:p>
            <a:pPr marL="171450" indent="-171450">
              <a:spcAft>
                <a:spcPts val="600"/>
              </a:spcAft>
              <a:buFont typeface="Arial" panose="020B0604020202020204" pitchFamily="34" charset="0"/>
              <a:buChar char="•"/>
            </a:pPr>
            <a:r>
              <a:rPr lang="en-AU" sz="1000" dirty="0">
                <a:solidFill>
                  <a:srgbClr val="37465B"/>
                </a:solidFill>
              </a:rPr>
              <a:t>Purpose of the Pre-Application meeting (Officer)</a:t>
            </a:r>
          </a:p>
          <a:p>
            <a:pPr marL="171450" indent="-171450">
              <a:spcAft>
                <a:spcPts val="600"/>
              </a:spcAft>
              <a:buFont typeface="Arial" panose="020B0604020202020204" pitchFamily="34" charset="0"/>
              <a:buChar char="•"/>
            </a:pPr>
            <a:r>
              <a:rPr lang="en-AU" sz="1000" dirty="0">
                <a:solidFill>
                  <a:srgbClr val="37465B"/>
                </a:solidFill>
              </a:rPr>
              <a:t>Summary of Proposal (All Parties)</a:t>
            </a:r>
          </a:p>
          <a:p>
            <a:pPr marL="171450" indent="-171450">
              <a:spcAft>
                <a:spcPts val="600"/>
              </a:spcAft>
              <a:buFont typeface="Arial" panose="020B0604020202020204" pitchFamily="34" charset="0"/>
              <a:buChar char="•"/>
            </a:pPr>
            <a:r>
              <a:rPr lang="en-AU" sz="1000" dirty="0">
                <a:solidFill>
                  <a:srgbClr val="37465B"/>
                </a:solidFill>
              </a:rPr>
              <a:t>Explanation of key planning controls and considerations (Officer)</a:t>
            </a:r>
          </a:p>
          <a:p>
            <a:pPr marL="171450" indent="-171450">
              <a:spcAft>
                <a:spcPts val="600"/>
              </a:spcAft>
              <a:buFont typeface="Arial" panose="020B0604020202020204" pitchFamily="34" charset="0"/>
              <a:buChar char="•"/>
            </a:pPr>
            <a:r>
              <a:rPr lang="en-AU" sz="1000" dirty="0">
                <a:solidFill>
                  <a:srgbClr val="37465B"/>
                </a:solidFill>
              </a:rPr>
              <a:t>Any questions (All Parties)</a:t>
            </a:r>
          </a:p>
          <a:p>
            <a:pPr marL="171450" indent="-171450">
              <a:spcAft>
                <a:spcPts val="600"/>
              </a:spcAft>
              <a:buFont typeface="Arial" panose="020B0604020202020204" pitchFamily="34" charset="0"/>
              <a:buChar char="•"/>
            </a:pPr>
            <a:r>
              <a:rPr lang="en-AU" sz="1000" dirty="0">
                <a:solidFill>
                  <a:srgbClr val="37465B"/>
                </a:solidFill>
              </a:rPr>
              <a:t>Discussion of next steps and summary of what you need to do before you submit your application (Officer)</a:t>
            </a:r>
          </a:p>
          <a:p>
            <a:pPr>
              <a:spcAft>
                <a:spcPts val="600"/>
              </a:spcAft>
            </a:pPr>
            <a:endParaRPr lang="en-AU" sz="1000" dirty="0">
              <a:solidFill>
                <a:srgbClr val="37465B"/>
              </a:solidFill>
            </a:endParaRPr>
          </a:p>
          <a:p>
            <a:pPr>
              <a:spcAft>
                <a:spcPts val="600"/>
              </a:spcAft>
            </a:pPr>
            <a:r>
              <a:rPr lang="en-AU" sz="1000" dirty="0">
                <a:solidFill>
                  <a:srgbClr val="37465B"/>
                </a:solidFill>
              </a:rPr>
              <a:t>Please call </a:t>
            </a:r>
            <a:r>
              <a:rPr lang="en-AU" sz="1000" dirty="0">
                <a:solidFill>
                  <a:srgbClr val="37465B"/>
                </a:solidFill>
                <a:highlight>
                  <a:srgbClr val="FFFF00"/>
                </a:highlight>
              </a:rPr>
              <a:t>&lt;insert phone number&gt; </a:t>
            </a:r>
            <a:r>
              <a:rPr lang="en-AU" sz="1000" dirty="0">
                <a:solidFill>
                  <a:srgbClr val="37465B"/>
                </a:solidFill>
              </a:rPr>
              <a:t>if you have any enquiries.</a:t>
            </a:r>
          </a:p>
          <a:p>
            <a:pPr>
              <a:spcAft>
                <a:spcPts val="600"/>
              </a:spcAft>
            </a:pPr>
            <a:endParaRPr lang="en-AU" sz="1000" dirty="0">
              <a:solidFill>
                <a:srgbClr val="37465B"/>
              </a:solidFill>
            </a:endParaRPr>
          </a:p>
          <a:p>
            <a:pPr>
              <a:spcAft>
                <a:spcPts val="600"/>
              </a:spcAft>
            </a:pPr>
            <a:r>
              <a:rPr lang="en-AU" sz="1000" dirty="0">
                <a:solidFill>
                  <a:srgbClr val="37465B"/>
                </a:solidFill>
              </a:rPr>
              <a:t>Thank you,</a:t>
            </a:r>
          </a:p>
          <a:p>
            <a:pPr>
              <a:spcAft>
                <a:spcPts val="600"/>
              </a:spcAft>
            </a:pPr>
            <a:endParaRPr lang="en-AU" sz="1000" dirty="0">
              <a:solidFill>
                <a:srgbClr val="37465B"/>
              </a:solidFill>
            </a:endParaRPr>
          </a:p>
          <a:p>
            <a:pPr>
              <a:spcAft>
                <a:spcPts val="600"/>
              </a:spcAft>
            </a:pPr>
            <a:r>
              <a:rPr lang="en-AU" sz="1000" dirty="0">
                <a:solidFill>
                  <a:srgbClr val="37465B"/>
                </a:solidFill>
              </a:rPr>
              <a:t>Statutory Planning Team</a:t>
            </a:r>
          </a:p>
        </p:txBody>
      </p:sp>
    </p:spTree>
    <p:extLst>
      <p:ext uri="{BB962C8B-B14F-4D97-AF65-F5344CB8AC3E}">
        <p14:creationId xmlns:p14="http://schemas.microsoft.com/office/powerpoint/2010/main" val="32818606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partment of Transport and Planning">
  <a:themeElements>
    <a:clrScheme name="DoTP-Reshuffle">
      <a:dk1>
        <a:sysClr val="windowText" lastClr="000000"/>
      </a:dk1>
      <a:lt1>
        <a:sysClr val="window" lastClr="FFFFFF"/>
      </a:lt1>
      <a:dk2>
        <a:srgbClr val="00B2A9"/>
      </a:dk2>
      <a:lt2>
        <a:srgbClr val="E1EEF9"/>
      </a:lt2>
      <a:accent1>
        <a:srgbClr val="CEDC00"/>
      </a:accent1>
      <a:accent2>
        <a:srgbClr val="FF9E1B"/>
      </a:accent2>
      <a:accent3>
        <a:srgbClr val="59CDC7"/>
      </a:accent3>
      <a:accent4>
        <a:srgbClr val="B2E8E5"/>
      </a:accent4>
      <a:accent5>
        <a:srgbClr val="009CA1"/>
      </a:accent5>
      <a:accent6>
        <a:srgbClr val="53565A"/>
      </a:accent6>
      <a:hlink>
        <a:srgbClr val="000000"/>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A4 Landscape" id="{438BF162-3764-4584-B0CD-9395A47D9DAF}" vid="{B4B9E902-DE2C-4414-A3CB-8DF8900CC7D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42BB819AAA975489E33CF0F50496490" ma:contentTypeVersion="10" ma:contentTypeDescription="Create a new document." ma:contentTypeScope="" ma:versionID="e8aed1a0a979e0d4bd7ee35307791cd5">
  <xsd:schema xmlns:xsd="http://www.w3.org/2001/XMLSchema" xmlns:xs="http://www.w3.org/2001/XMLSchema" xmlns:p="http://schemas.microsoft.com/office/2006/metadata/properties" xmlns:ns2="3dcb25b9-5e2a-4cbc-a1d6-f53ee7652e42" targetNamespace="http://schemas.microsoft.com/office/2006/metadata/properties" ma:root="true" ma:fieldsID="bdac9d7d3ad936dc420253b2d2cf3a3d" ns2:_="">
    <xsd:import namespace="3dcb25b9-5e2a-4cbc-a1d6-f53ee7652e42"/>
    <xsd:element name="properties">
      <xsd:complexType>
        <xsd:sequence>
          <xsd:element name="documentManagement">
            <xsd:complexType>
              <xsd:all>
                <xsd:element ref="ns2:lcf76f155ced4ddcb4097134ff3c332f" minOccurs="0"/>
                <xsd:element ref="ns2:MediaServiceMetadata" minOccurs="0"/>
                <xsd:element ref="ns2:MediaServiceFastMetadata" minOccurs="0"/>
                <xsd:element ref="ns2:MediaServiceDateTaken" minOccurs="0"/>
                <xsd:element ref="ns2:MediaServiceOCR" minOccurs="0"/>
                <xsd:element ref="ns2:MediaServiceGenerationTime" minOccurs="0"/>
                <xsd:element ref="ns2:MediaServiceEventHashCode"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cb25b9-5e2a-4cbc-a1d6-f53ee7652e42"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62a39602-bab5-4ac0-a14f-71daef3a2535" ma:termSetId="09814cd3-568e-fe90-9814-8d621ff8fb84" ma:anchorId="fba54fb3-c3e1-fe81-a776-ca4b69148c4d" ma:open="true" ma:isKeyword="false">
      <xsd:complexType>
        <xsd:sequence>
          <xsd:element ref="pc:Terms" minOccurs="0" maxOccurs="1"/>
        </xsd:sequence>
      </xsd:complexType>
    </xsd:element>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ediaLengthInSeconds xmlns="3dcb25b9-5e2a-4cbc-a1d6-f53ee7652e42" xsi:nil="true"/>
    <lcf76f155ced4ddcb4097134ff3c332f xmlns="3dcb25b9-5e2a-4cbc-a1d6-f53ee7652e4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12C06B3F-6428-404C-BA5D-0654E8FC3B7F}">
  <ds:schemaRefs>
    <ds:schemaRef ds:uri="http://schemas.microsoft.com/sharepoint/v3/contenttype/forms"/>
  </ds:schemaRefs>
</ds:datastoreItem>
</file>

<file path=customXml/itemProps2.xml><?xml version="1.0" encoding="utf-8"?>
<ds:datastoreItem xmlns:ds="http://schemas.openxmlformats.org/officeDocument/2006/customXml" ds:itemID="{0A1D92A0-F5E4-4E52-BB68-36FCA3FCD9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cb25b9-5e2a-4cbc-a1d6-f53ee7652e4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74567E0-937E-4523-B1A2-AD9F207BBEE7}">
  <ds:schemaRefs>
    <ds:schemaRef ds:uri="http://purl.org/dc/terms/"/>
    <ds:schemaRef ds:uri="http://www.w3.org/XML/1998/namespace"/>
    <ds:schemaRef ds:uri="http://schemas.microsoft.com/office/2006/documentManagement/types"/>
    <ds:schemaRef ds:uri="http://purl.org/dc/elements/1.1/"/>
    <ds:schemaRef ds:uri="http://schemas.microsoft.com/office/infopath/2007/PartnerControls"/>
    <ds:schemaRef ds:uri="http://purl.org/dc/dcmitype/"/>
    <ds:schemaRef ds:uri="http://schemas.openxmlformats.org/package/2006/metadata/core-properties"/>
    <ds:schemaRef ds:uri="3dcb25b9-5e2a-4cbc-a1d6-f53ee7652e42"/>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588</TotalTime>
  <Words>1875</Words>
  <Application>Microsoft Office PowerPoint</Application>
  <PresentationFormat>Custom</PresentationFormat>
  <Paragraphs>172</Paragraphs>
  <Slides>6</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3" baseType="lpstr">
      <vt:lpstr>Arial</vt:lpstr>
      <vt:lpstr>Calibri</vt:lpstr>
      <vt:lpstr>Roboto</vt:lpstr>
      <vt:lpstr>Segoe UI</vt:lpstr>
      <vt:lpstr>Segoe UI Semibold</vt:lpstr>
      <vt:lpstr>Department of Transport and Planning</vt:lpstr>
      <vt:lpstr>think-cell Slide</vt:lpstr>
      <vt:lpstr>Online Triage Questions Webform Content</vt:lpstr>
      <vt:lpstr>Triage process future state map</vt:lpstr>
      <vt:lpstr>Recommendations</vt:lpstr>
      <vt:lpstr>Automated pre-app request email response</vt:lpstr>
      <vt:lpstr>Missing documentation response</vt:lpstr>
      <vt:lpstr>Email template for planners to schedule the pre-application meeting</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line Triage Questions Webform Content</dc:title>
  <dc:creator>Tamara Abbott</dc:creator>
  <cp:lastModifiedBy>Alannah Tran</cp:lastModifiedBy>
  <cp:revision>11</cp:revision>
  <cp:lastPrinted>2017-07-26T07:33:06Z</cp:lastPrinted>
  <dcterms:created xsi:type="dcterms:W3CDTF">2022-08-05T00:56:00Z</dcterms:created>
  <dcterms:modified xsi:type="dcterms:W3CDTF">2023-07-31T01:0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2BB819AAA975489E33CF0F50496490</vt:lpwstr>
  </property>
  <property fmtid="{D5CDD505-2E9C-101B-9397-08002B2CF9AE}" pid="3" name="MediaServiceImageTags">
    <vt:lpwstr/>
  </property>
  <property fmtid="{D5CDD505-2E9C-101B-9397-08002B2CF9AE}" pid="4" name="Order">
    <vt:r8>24700</vt:r8>
  </property>
  <property fmtid="{D5CDD505-2E9C-101B-9397-08002B2CF9AE}" pid="5" name="xd_Signature">
    <vt:bool>false</vt:bool>
  </property>
  <property fmtid="{D5CDD505-2E9C-101B-9397-08002B2CF9AE}" pid="6" name="xd_ProgID">
    <vt:lpwstr/>
  </property>
  <property fmtid="{D5CDD505-2E9C-101B-9397-08002B2CF9AE}" pid="7" name="_ExtendedDescription">
    <vt:lpwstr/>
  </property>
  <property fmtid="{D5CDD505-2E9C-101B-9397-08002B2CF9AE}" pid="8" name="TriggerFlowInfo">
    <vt:lpwstr/>
  </property>
  <property fmtid="{D5CDD505-2E9C-101B-9397-08002B2CF9AE}" pid="9" name="ComplianceAssetId">
    <vt:lpwstr/>
  </property>
  <property fmtid="{D5CDD505-2E9C-101B-9397-08002B2CF9AE}" pid="10" name="TemplateUrl">
    <vt:lpwstr/>
  </property>
  <property fmtid="{D5CDD505-2E9C-101B-9397-08002B2CF9AE}" pid="11" name="Records Class Project">
    <vt:lpwstr>13</vt:lpwstr>
  </property>
  <property fmtid="{D5CDD505-2E9C-101B-9397-08002B2CF9AE}" pid="12" name="Dissemination Limiting Marker">
    <vt:lpwstr>2;#FOUO|955eb6fc-b35a-4808-8aa5-31e514fa3f26</vt:lpwstr>
  </property>
  <property fmtid="{D5CDD505-2E9C-101B-9397-08002B2CF9AE}" pid="13" name="Security Classification">
    <vt:lpwstr>1;#Unclassified|7fa379f4-4aba-4692-ab80-7d39d3a23cf4</vt:lpwstr>
  </property>
  <property fmtid="{D5CDD505-2E9C-101B-9397-08002B2CF9AE}" pid="14" name="_dlc_DocIdItemGuid">
    <vt:lpwstr>58c29675-66f8-4ad1-8ed9-1c3fa3f63fec</vt:lpwstr>
  </property>
  <property fmtid="{D5CDD505-2E9C-101B-9397-08002B2CF9AE}" pid="15" name="Record Purpose">
    <vt:lpwstr/>
  </property>
  <property fmtid="{D5CDD505-2E9C-101B-9397-08002B2CF9AE}" pid="16" name="Department Document Type">
    <vt:lpwstr/>
  </property>
  <property fmtid="{D5CDD505-2E9C-101B-9397-08002B2CF9AE}" pid="17" name="MSIP_Label_4257e2ab-f512-40e2-9c9a-c64247360765_Enabled">
    <vt:lpwstr>true</vt:lpwstr>
  </property>
  <property fmtid="{D5CDD505-2E9C-101B-9397-08002B2CF9AE}" pid="18" name="MSIP_Label_4257e2ab-f512-40e2-9c9a-c64247360765_SetDate">
    <vt:lpwstr>2023-06-19T03:13:44Z</vt:lpwstr>
  </property>
  <property fmtid="{D5CDD505-2E9C-101B-9397-08002B2CF9AE}" pid="19" name="MSIP_Label_4257e2ab-f512-40e2-9c9a-c64247360765_Method">
    <vt:lpwstr>Privileged</vt:lpwstr>
  </property>
  <property fmtid="{D5CDD505-2E9C-101B-9397-08002B2CF9AE}" pid="20" name="MSIP_Label_4257e2ab-f512-40e2-9c9a-c64247360765_Name">
    <vt:lpwstr>OFFICIAL</vt:lpwstr>
  </property>
  <property fmtid="{D5CDD505-2E9C-101B-9397-08002B2CF9AE}" pid="21" name="MSIP_Label_4257e2ab-f512-40e2-9c9a-c64247360765_SiteId">
    <vt:lpwstr>e8bdd6f7-fc18-4e48-a554-7f547927223b</vt:lpwstr>
  </property>
  <property fmtid="{D5CDD505-2E9C-101B-9397-08002B2CF9AE}" pid="22" name="MSIP_Label_4257e2ab-f512-40e2-9c9a-c64247360765_ActionId">
    <vt:lpwstr>96847d23-4f1b-4663-93bb-e6d6c288a145</vt:lpwstr>
  </property>
  <property fmtid="{D5CDD505-2E9C-101B-9397-08002B2CF9AE}" pid="23" name="MSIP_Label_4257e2ab-f512-40e2-9c9a-c64247360765_ContentBits">
    <vt:lpwstr>2</vt:lpwstr>
  </property>
</Properties>
</file>